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8" r:id="rId3"/>
    <p:sldId id="257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45058"/>
    <a:srgbClr val="8ED973"/>
    <a:srgbClr val="95C6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>
        <p:scale>
          <a:sx n="63" d="100"/>
          <a:sy n="63" d="100"/>
        </p:scale>
        <p:origin x="629" y="38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3C9B4A-0140-F3A3-A082-329AEC6706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90B76B-DE25-CFF1-1243-88E105FF2C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6ED490-5BC7-AC20-BF0D-163A571E6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33C6F-8DEF-45BA-8000-D6931F38AB71}" type="datetimeFigureOut">
              <a:rPr lang="en-MY" smtClean="0"/>
              <a:t>2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37B3E4-5DCC-E159-1A61-AADBACBE04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38C567-11FA-5C0E-8858-E6EA865F7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6F95D-ED7A-4202-A836-26C7E339C287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2715533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0A2D8-3D3F-1C55-8996-31E3C806FB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463CC8E-5637-9F33-1AE5-DA8067B7729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CEB902-60F4-D7E1-8EE7-117D4DC5F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33C6F-8DEF-45BA-8000-D6931F38AB71}" type="datetimeFigureOut">
              <a:rPr lang="en-MY" smtClean="0"/>
              <a:t>2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88E867-739F-3665-C385-A9DFA5A725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CDA6EE-6002-9B0E-2322-9FB913C8E6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6F95D-ED7A-4202-A836-26C7E339C287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5443981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A1AE597-F937-AE40-3E64-FFE1CCFE582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9E23A4-6B83-1B72-B4F5-7928B60225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F4E473-087A-4556-6B2B-BA90ED7E90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33C6F-8DEF-45BA-8000-D6931F38AB71}" type="datetimeFigureOut">
              <a:rPr lang="en-MY" smtClean="0"/>
              <a:t>2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DC89D4-3FAD-D011-0357-C07432B16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1D8D9A-0CA7-F4F5-BE71-8CEC8B337D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6F95D-ED7A-4202-A836-26C7E339C287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0285871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9E779E-B24A-CD45-8FA2-D3E2AFB433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0C054C-174C-6BFF-0839-AB2119CEC7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8B121F-8A2A-42EF-7514-A03F368C35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33C6F-8DEF-45BA-8000-D6931F38AB71}" type="datetimeFigureOut">
              <a:rPr lang="en-MY" smtClean="0"/>
              <a:t>2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C61E49-310F-49C2-0FAC-AD7CAE6467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0B77F5-BD0A-F5B1-42B8-87A65B687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6F95D-ED7A-4202-A836-26C7E339C287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9378316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A022AC-7C48-C938-8061-75C2FF6FCE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DF708D-99F2-7813-B832-808D86952D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26A21B-15AA-11BD-224F-2D723030F7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33C6F-8DEF-45BA-8000-D6931F38AB71}" type="datetimeFigureOut">
              <a:rPr lang="en-MY" smtClean="0"/>
              <a:t>2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7A668F-A2B2-F92E-374E-6EE11686FF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BF9AF3-68FB-FAA2-DC91-EF2D6A00A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6F95D-ED7A-4202-A836-26C7E339C287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216890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2F92D6-A361-07F4-79DA-62F3E3915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152817-8300-723E-4E5A-AE5D4D6656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925B7B-E4CD-407E-AA17-F202D8252E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F4B9A6-1823-6DA0-DF99-2B1F5B184D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33C6F-8DEF-45BA-8000-D6931F38AB71}" type="datetimeFigureOut">
              <a:rPr lang="en-MY" smtClean="0"/>
              <a:t>2/10/2024</a:t>
            </a:fld>
            <a:endParaRPr lang="en-MY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7BFA7D-6523-E474-B180-401685581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13905-EB32-684C-EB4B-60E48AC04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6F95D-ED7A-4202-A836-26C7E339C287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6436871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954BE3-4D82-6CF5-0CE8-230F065B5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D85148-9AB8-CB5F-C423-B056DDE995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61E4DB-1B2A-C329-6A84-DCA444116E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E40B8A-19CC-2958-5005-38561321C19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BA3B47E-F3DD-B76A-4030-198C2992F85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171A867-4F84-F3B1-53E8-303069C4F3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33C6F-8DEF-45BA-8000-D6931F38AB71}" type="datetimeFigureOut">
              <a:rPr lang="en-MY" smtClean="0"/>
              <a:t>2/10/2024</a:t>
            </a:fld>
            <a:endParaRPr lang="en-MY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FD0C448-7D1E-8C29-6508-04EE6FF938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B1B3782-6CF1-4446-29AF-68AE10ED4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6F95D-ED7A-4202-A836-26C7E339C287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626436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3C7FEC-0AE1-962B-09E9-D1684F22A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FEF233-BF10-9F12-1B93-E473D2F6A1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33C6F-8DEF-45BA-8000-D6931F38AB71}" type="datetimeFigureOut">
              <a:rPr lang="en-MY" smtClean="0"/>
              <a:t>2/10/2024</a:t>
            </a:fld>
            <a:endParaRPr lang="en-MY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15993A-D7C5-4E0C-24FA-96F84399F9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A25680-E41C-88C0-1C6B-242337055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6F95D-ED7A-4202-A836-26C7E339C287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5365595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7F1990-9A73-C7D0-3E62-34DCC2FCB1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33C6F-8DEF-45BA-8000-D6931F38AB71}" type="datetimeFigureOut">
              <a:rPr lang="en-MY" smtClean="0"/>
              <a:t>2/10/2024</a:t>
            </a:fld>
            <a:endParaRPr lang="en-MY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A2FB49-4AD9-26DE-03E5-D37626340C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04C237-6ED5-694F-D945-AE3CDF3695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6F95D-ED7A-4202-A836-26C7E339C287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0455704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A9CBBB-0E47-DC62-CD74-9016CEB657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B09EAC-C138-8E6B-22AA-AB5341E8B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145412-859C-C6A2-4C5E-0F53CEF0D6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587C6A-697E-11ED-90F6-BF8BAA1E8F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33C6F-8DEF-45BA-8000-D6931F38AB71}" type="datetimeFigureOut">
              <a:rPr lang="en-MY" smtClean="0"/>
              <a:t>2/10/2024</a:t>
            </a:fld>
            <a:endParaRPr lang="en-MY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59F6F6-92FB-4B47-F405-171C0ACCFD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009E45-B7FF-08A1-AB76-27DE3F3B4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6F95D-ED7A-4202-A836-26C7E339C287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6162438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5D6B3E-2696-2F61-EDC1-61C138341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DEC5E5-2657-7E9D-A182-0F21C3510A7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MY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E8116E-97B1-2277-EC34-F189E0FDD4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56CFA2-4395-33F0-113C-40E56F70B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33C6F-8DEF-45BA-8000-D6931F38AB71}" type="datetimeFigureOut">
              <a:rPr lang="en-MY" smtClean="0"/>
              <a:t>2/10/2024</a:t>
            </a:fld>
            <a:endParaRPr lang="en-MY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153EE8-F340-67B5-84E5-5FB115159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7C64CF-3216-ECEF-D71C-A43FA0B7E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6F95D-ED7A-4202-A836-26C7E339C287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974449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CCA718B-CACA-F3B7-6E96-D5B5DD873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31FBB2-417A-4DEE-33B4-E257BFC2E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21A10F-7D8F-0F8B-BA80-DC711C0638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6233C6F-8DEF-45BA-8000-D6931F38AB71}" type="datetimeFigureOut">
              <a:rPr lang="en-MY" smtClean="0"/>
              <a:t>2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D343B1-4DBC-98AB-6D6C-033EEA181C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7D22ED-58D4-C2C5-3C34-1902994546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866F95D-ED7A-4202-A836-26C7E339C287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971647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7030A0"/>
            </a:gs>
            <a:gs pos="53000">
              <a:schemeClr val="accent1">
                <a:lumMod val="45000"/>
                <a:lumOff val="55000"/>
              </a:schemeClr>
            </a:gs>
            <a:gs pos="100000">
              <a:schemeClr val="accent4">
                <a:lumMod val="75000"/>
              </a:schemeClr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>
            <a:extLst>
              <a:ext uri="{FF2B5EF4-FFF2-40B4-BE49-F238E27FC236}">
                <a16:creationId xmlns:a16="http://schemas.microsoft.com/office/drawing/2014/main" id="{275E8C36-4640-459C-3705-BE7F6F9F135E}"/>
              </a:ext>
            </a:extLst>
          </p:cNvPr>
          <p:cNvSpPr/>
          <p:nvPr/>
        </p:nvSpPr>
        <p:spPr>
          <a:xfrm>
            <a:off x="2786278" y="3802315"/>
            <a:ext cx="6619444" cy="2216513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scene3d>
            <a:camera prst="perspectiveRelaxedModerately"/>
            <a:lightRig rig="threePt" dir="t"/>
          </a:scene3d>
          <a:sp3d extrusionH="3175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BF0A4A5-E088-65AE-EA76-68A186B7472A}"/>
              </a:ext>
            </a:extLst>
          </p:cNvPr>
          <p:cNvGrpSpPr/>
          <p:nvPr/>
        </p:nvGrpSpPr>
        <p:grpSpPr>
          <a:xfrm>
            <a:off x="6096000" y="959282"/>
            <a:ext cx="1281600" cy="4048219"/>
            <a:chOff x="6762822" y="908749"/>
            <a:chExt cx="1281600" cy="4048219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A99EDF0-1FCE-ED28-EC08-C22BF64D4B86}"/>
                </a:ext>
              </a:extLst>
            </p:cNvPr>
            <p:cNvSpPr/>
            <p:nvPr/>
          </p:nvSpPr>
          <p:spPr>
            <a:xfrm>
              <a:off x="6762822" y="922218"/>
              <a:ext cx="1281600" cy="4034750"/>
            </a:xfrm>
            <a:custGeom>
              <a:avLst/>
              <a:gdLst>
                <a:gd name="connsiteX0" fmla="*/ 640800 w 1281600"/>
                <a:gd name="connsiteY0" fmla="*/ 0 h 4034750"/>
                <a:gd name="connsiteX1" fmla="*/ 1281600 w 1281600"/>
                <a:gd name="connsiteY1" fmla="*/ 273600 h 4034750"/>
                <a:gd name="connsiteX2" fmla="*/ 1273649 w 1281600"/>
                <a:gd name="connsiteY2" fmla="*/ 276995 h 4034750"/>
                <a:gd name="connsiteX3" fmla="*/ 1281600 w 1281600"/>
                <a:gd name="connsiteY3" fmla="*/ 276995 h 4034750"/>
                <a:gd name="connsiteX4" fmla="*/ 1281600 w 1281600"/>
                <a:gd name="connsiteY4" fmla="*/ 3760721 h 4034750"/>
                <a:gd name="connsiteX5" fmla="*/ 1280596 w 1281600"/>
                <a:gd name="connsiteY5" fmla="*/ 3760721 h 4034750"/>
                <a:gd name="connsiteX6" fmla="*/ 1281600 w 1281600"/>
                <a:gd name="connsiteY6" fmla="*/ 3761150 h 4034750"/>
                <a:gd name="connsiteX7" fmla="*/ 640800 w 1281600"/>
                <a:gd name="connsiteY7" fmla="*/ 4034750 h 4034750"/>
                <a:gd name="connsiteX8" fmla="*/ 0 w 1281600"/>
                <a:gd name="connsiteY8" fmla="*/ 3761150 h 4034750"/>
                <a:gd name="connsiteX9" fmla="*/ 1005 w 1281600"/>
                <a:gd name="connsiteY9" fmla="*/ 3760721 h 4034750"/>
                <a:gd name="connsiteX10" fmla="*/ 0 w 1281600"/>
                <a:gd name="connsiteY10" fmla="*/ 3760721 h 4034750"/>
                <a:gd name="connsiteX11" fmla="*/ 0 w 1281600"/>
                <a:gd name="connsiteY11" fmla="*/ 276995 h 4034750"/>
                <a:gd name="connsiteX12" fmla="*/ 7952 w 1281600"/>
                <a:gd name="connsiteY12" fmla="*/ 276995 h 4034750"/>
                <a:gd name="connsiteX13" fmla="*/ 0 w 1281600"/>
                <a:gd name="connsiteY13" fmla="*/ 273600 h 4034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1600" h="4034750">
                  <a:moveTo>
                    <a:pt x="640800" y="0"/>
                  </a:moveTo>
                  <a:lnTo>
                    <a:pt x="1281600" y="273600"/>
                  </a:lnTo>
                  <a:lnTo>
                    <a:pt x="1273649" y="276995"/>
                  </a:lnTo>
                  <a:lnTo>
                    <a:pt x="1281600" y="276995"/>
                  </a:lnTo>
                  <a:lnTo>
                    <a:pt x="1281600" y="3760721"/>
                  </a:lnTo>
                  <a:lnTo>
                    <a:pt x="1280596" y="3760721"/>
                  </a:lnTo>
                  <a:lnTo>
                    <a:pt x="1281600" y="3761150"/>
                  </a:lnTo>
                  <a:lnTo>
                    <a:pt x="640800" y="4034750"/>
                  </a:lnTo>
                  <a:lnTo>
                    <a:pt x="0" y="3761150"/>
                  </a:lnTo>
                  <a:lnTo>
                    <a:pt x="1005" y="3760721"/>
                  </a:lnTo>
                  <a:lnTo>
                    <a:pt x="0" y="3760721"/>
                  </a:lnTo>
                  <a:lnTo>
                    <a:pt x="0" y="276995"/>
                  </a:lnTo>
                  <a:lnTo>
                    <a:pt x="7952" y="276995"/>
                  </a:lnTo>
                  <a:lnTo>
                    <a:pt x="0" y="273600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6">
                    <a:lumMod val="75000"/>
                  </a:schemeClr>
                </a:gs>
                <a:gs pos="53000">
                  <a:schemeClr val="accent1">
                    <a:lumMod val="45000"/>
                    <a:lumOff val="55000"/>
                  </a:schemeClr>
                </a:gs>
                <a:gs pos="0">
                  <a:schemeClr val="accent6">
                    <a:lumMod val="40000"/>
                    <a:lumOff val="6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FC414B5-A780-2437-FD08-64B5BDC761A1}"/>
                </a:ext>
              </a:extLst>
            </p:cNvPr>
            <p:cNvSpPr/>
            <p:nvPr/>
          </p:nvSpPr>
          <p:spPr>
            <a:xfrm>
              <a:off x="7403622" y="922218"/>
              <a:ext cx="640800" cy="4034750"/>
            </a:xfrm>
            <a:custGeom>
              <a:avLst/>
              <a:gdLst>
                <a:gd name="connsiteX0" fmla="*/ 0 w 640800"/>
                <a:gd name="connsiteY0" fmla="*/ 0 h 4034750"/>
                <a:gd name="connsiteX1" fmla="*/ 640800 w 640800"/>
                <a:gd name="connsiteY1" fmla="*/ 273600 h 4034750"/>
                <a:gd name="connsiteX2" fmla="*/ 632849 w 640800"/>
                <a:gd name="connsiteY2" fmla="*/ 276995 h 4034750"/>
                <a:gd name="connsiteX3" fmla="*/ 640800 w 640800"/>
                <a:gd name="connsiteY3" fmla="*/ 276995 h 4034750"/>
                <a:gd name="connsiteX4" fmla="*/ 640800 w 640800"/>
                <a:gd name="connsiteY4" fmla="*/ 3760721 h 4034750"/>
                <a:gd name="connsiteX5" fmla="*/ 639796 w 640800"/>
                <a:gd name="connsiteY5" fmla="*/ 3760721 h 4034750"/>
                <a:gd name="connsiteX6" fmla="*/ 640800 w 640800"/>
                <a:gd name="connsiteY6" fmla="*/ 3761150 h 4034750"/>
                <a:gd name="connsiteX7" fmla="*/ 0 w 640800"/>
                <a:gd name="connsiteY7" fmla="*/ 4034750 h 4034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0800" h="4034750">
                  <a:moveTo>
                    <a:pt x="0" y="0"/>
                  </a:moveTo>
                  <a:lnTo>
                    <a:pt x="640800" y="273600"/>
                  </a:lnTo>
                  <a:lnTo>
                    <a:pt x="632849" y="276995"/>
                  </a:lnTo>
                  <a:lnTo>
                    <a:pt x="640800" y="276995"/>
                  </a:lnTo>
                  <a:lnTo>
                    <a:pt x="640800" y="3760721"/>
                  </a:lnTo>
                  <a:lnTo>
                    <a:pt x="639796" y="3760721"/>
                  </a:lnTo>
                  <a:lnTo>
                    <a:pt x="640800" y="3761150"/>
                  </a:lnTo>
                  <a:lnTo>
                    <a:pt x="0" y="4034750"/>
                  </a:lnTo>
                  <a:close/>
                </a:path>
              </a:pathLst>
            </a:custGeom>
            <a:solidFill>
              <a:schemeClr val="bg1">
                <a:alpha val="2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20" name="Diamond 19">
              <a:extLst>
                <a:ext uri="{FF2B5EF4-FFF2-40B4-BE49-F238E27FC236}">
                  <a16:creationId xmlns:a16="http://schemas.microsoft.com/office/drawing/2014/main" id="{EB3AE01A-7368-EC66-3B65-05478A50A3B8}"/>
                </a:ext>
              </a:extLst>
            </p:cNvPr>
            <p:cNvSpPr/>
            <p:nvPr/>
          </p:nvSpPr>
          <p:spPr>
            <a:xfrm>
              <a:off x="6762822" y="908749"/>
              <a:ext cx="1281600" cy="547200"/>
            </a:xfrm>
            <a:prstGeom prst="diamond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8669033-8F7C-0C05-BA89-F82A97B1DC95}"/>
              </a:ext>
            </a:extLst>
          </p:cNvPr>
          <p:cNvGrpSpPr/>
          <p:nvPr/>
        </p:nvGrpSpPr>
        <p:grpSpPr>
          <a:xfrm>
            <a:off x="5346191" y="2272121"/>
            <a:ext cx="1281600" cy="3060389"/>
            <a:chOff x="5293785" y="1896579"/>
            <a:chExt cx="1281600" cy="3060389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4A81BB3-D46B-391C-C707-193065199CCF}"/>
                </a:ext>
              </a:extLst>
            </p:cNvPr>
            <p:cNvSpPr/>
            <p:nvPr/>
          </p:nvSpPr>
          <p:spPr>
            <a:xfrm>
              <a:off x="5293785" y="1896579"/>
              <a:ext cx="1281600" cy="3060389"/>
            </a:xfrm>
            <a:custGeom>
              <a:avLst/>
              <a:gdLst>
                <a:gd name="connsiteX0" fmla="*/ 640800 w 1281600"/>
                <a:gd name="connsiteY0" fmla="*/ 0 h 3060389"/>
                <a:gd name="connsiteX1" fmla="*/ 1281600 w 1281600"/>
                <a:gd name="connsiteY1" fmla="*/ 273600 h 3060389"/>
                <a:gd name="connsiteX2" fmla="*/ 1273651 w 1281600"/>
                <a:gd name="connsiteY2" fmla="*/ 276994 h 3060389"/>
                <a:gd name="connsiteX3" fmla="*/ 1281600 w 1281600"/>
                <a:gd name="connsiteY3" fmla="*/ 276994 h 3060389"/>
                <a:gd name="connsiteX4" fmla="*/ 1281600 w 1281600"/>
                <a:gd name="connsiteY4" fmla="*/ 2786359 h 3060389"/>
                <a:gd name="connsiteX5" fmla="*/ 1280593 w 1281600"/>
                <a:gd name="connsiteY5" fmla="*/ 2786359 h 3060389"/>
                <a:gd name="connsiteX6" fmla="*/ 1281600 w 1281600"/>
                <a:gd name="connsiteY6" fmla="*/ 2786789 h 3060389"/>
                <a:gd name="connsiteX7" fmla="*/ 640800 w 1281600"/>
                <a:gd name="connsiteY7" fmla="*/ 3060389 h 3060389"/>
                <a:gd name="connsiteX8" fmla="*/ 0 w 1281600"/>
                <a:gd name="connsiteY8" fmla="*/ 2786789 h 3060389"/>
                <a:gd name="connsiteX9" fmla="*/ 1007 w 1281600"/>
                <a:gd name="connsiteY9" fmla="*/ 2786359 h 3060389"/>
                <a:gd name="connsiteX10" fmla="*/ 0 w 1281600"/>
                <a:gd name="connsiteY10" fmla="*/ 2786359 h 3060389"/>
                <a:gd name="connsiteX11" fmla="*/ 0 w 1281600"/>
                <a:gd name="connsiteY11" fmla="*/ 276994 h 3060389"/>
                <a:gd name="connsiteX12" fmla="*/ 7949 w 1281600"/>
                <a:gd name="connsiteY12" fmla="*/ 276994 h 3060389"/>
                <a:gd name="connsiteX13" fmla="*/ 0 w 1281600"/>
                <a:gd name="connsiteY13" fmla="*/ 273600 h 306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1600" h="3060389">
                  <a:moveTo>
                    <a:pt x="640800" y="0"/>
                  </a:moveTo>
                  <a:lnTo>
                    <a:pt x="1281600" y="273600"/>
                  </a:lnTo>
                  <a:lnTo>
                    <a:pt x="1273651" y="276994"/>
                  </a:lnTo>
                  <a:lnTo>
                    <a:pt x="1281600" y="276994"/>
                  </a:lnTo>
                  <a:lnTo>
                    <a:pt x="1281600" y="2786359"/>
                  </a:lnTo>
                  <a:lnTo>
                    <a:pt x="1280593" y="2786359"/>
                  </a:lnTo>
                  <a:lnTo>
                    <a:pt x="1281600" y="2786789"/>
                  </a:lnTo>
                  <a:lnTo>
                    <a:pt x="640800" y="3060389"/>
                  </a:lnTo>
                  <a:lnTo>
                    <a:pt x="0" y="2786789"/>
                  </a:lnTo>
                  <a:lnTo>
                    <a:pt x="1007" y="2786359"/>
                  </a:lnTo>
                  <a:lnTo>
                    <a:pt x="0" y="2786359"/>
                  </a:lnTo>
                  <a:lnTo>
                    <a:pt x="0" y="276994"/>
                  </a:lnTo>
                  <a:lnTo>
                    <a:pt x="7949" y="276994"/>
                  </a:lnTo>
                  <a:lnTo>
                    <a:pt x="0" y="27360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7030A0"/>
                </a:gs>
                <a:gs pos="53000">
                  <a:schemeClr val="accent1">
                    <a:lumMod val="45000"/>
                    <a:lumOff val="55000"/>
                  </a:schemeClr>
                </a:gs>
                <a:gs pos="1000">
                  <a:schemeClr val="accent4">
                    <a:lumMod val="7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116B66F-2729-994D-9D84-631FA3973592}"/>
                </a:ext>
              </a:extLst>
            </p:cNvPr>
            <p:cNvSpPr/>
            <p:nvPr/>
          </p:nvSpPr>
          <p:spPr>
            <a:xfrm>
              <a:off x="5934585" y="1896579"/>
              <a:ext cx="640800" cy="3060389"/>
            </a:xfrm>
            <a:custGeom>
              <a:avLst/>
              <a:gdLst>
                <a:gd name="connsiteX0" fmla="*/ 0 w 640800"/>
                <a:gd name="connsiteY0" fmla="*/ 0 h 3060389"/>
                <a:gd name="connsiteX1" fmla="*/ 640800 w 640800"/>
                <a:gd name="connsiteY1" fmla="*/ 273600 h 3060389"/>
                <a:gd name="connsiteX2" fmla="*/ 632851 w 640800"/>
                <a:gd name="connsiteY2" fmla="*/ 276994 h 3060389"/>
                <a:gd name="connsiteX3" fmla="*/ 640800 w 640800"/>
                <a:gd name="connsiteY3" fmla="*/ 276994 h 3060389"/>
                <a:gd name="connsiteX4" fmla="*/ 640800 w 640800"/>
                <a:gd name="connsiteY4" fmla="*/ 2786359 h 3060389"/>
                <a:gd name="connsiteX5" fmla="*/ 639793 w 640800"/>
                <a:gd name="connsiteY5" fmla="*/ 2786359 h 3060389"/>
                <a:gd name="connsiteX6" fmla="*/ 640800 w 640800"/>
                <a:gd name="connsiteY6" fmla="*/ 2786789 h 3060389"/>
                <a:gd name="connsiteX7" fmla="*/ 0 w 640800"/>
                <a:gd name="connsiteY7" fmla="*/ 3060389 h 306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0800" h="3060389">
                  <a:moveTo>
                    <a:pt x="0" y="0"/>
                  </a:moveTo>
                  <a:lnTo>
                    <a:pt x="640800" y="273600"/>
                  </a:lnTo>
                  <a:lnTo>
                    <a:pt x="632851" y="276994"/>
                  </a:lnTo>
                  <a:lnTo>
                    <a:pt x="640800" y="276994"/>
                  </a:lnTo>
                  <a:lnTo>
                    <a:pt x="640800" y="2786359"/>
                  </a:lnTo>
                  <a:lnTo>
                    <a:pt x="639793" y="2786359"/>
                  </a:lnTo>
                  <a:lnTo>
                    <a:pt x="640800" y="2786789"/>
                  </a:lnTo>
                  <a:lnTo>
                    <a:pt x="0" y="3060389"/>
                  </a:lnTo>
                  <a:close/>
                </a:path>
              </a:pathLst>
            </a:custGeom>
            <a:solidFill>
              <a:schemeClr val="bg1">
                <a:alpha val="2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19" name="Diamond 18">
              <a:extLst>
                <a:ext uri="{FF2B5EF4-FFF2-40B4-BE49-F238E27FC236}">
                  <a16:creationId xmlns:a16="http://schemas.microsoft.com/office/drawing/2014/main" id="{AA80F8F1-6343-0CC0-C123-45CED37D7CEE}"/>
                </a:ext>
              </a:extLst>
            </p:cNvPr>
            <p:cNvSpPr/>
            <p:nvPr/>
          </p:nvSpPr>
          <p:spPr>
            <a:xfrm>
              <a:off x="5293785" y="1896579"/>
              <a:ext cx="1281600" cy="547200"/>
            </a:xfrm>
            <a:prstGeom prst="diamond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EA9DC60-884F-46D4-1841-7046096866E5}"/>
              </a:ext>
            </a:extLst>
          </p:cNvPr>
          <p:cNvGrpSpPr/>
          <p:nvPr/>
        </p:nvGrpSpPr>
        <p:grpSpPr>
          <a:xfrm>
            <a:off x="4596382" y="3230729"/>
            <a:ext cx="1281600" cy="2410219"/>
            <a:chOff x="3824748" y="2546749"/>
            <a:chExt cx="1281600" cy="2410219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0CDAEB-41C4-3946-9D5F-05AC9BA551FC}"/>
                </a:ext>
              </a:extLst>
            </p:cNvPr>
            <p:cNvSpPr/>
            <p:nvPr/>
          </p:nvSpPr>
          <p:spPr>
            <a:xfrm>
              <a:off x="3824748" y="2571136"/>
              <a:ext cx="1281600" cy="2385832"/>
            </a:xfrm>
            <a:custGeom>
              <a:avLst/>
              <a:gdLst>
                <a:gd name="connsiteX0" fmla="*/ 640800 w 1281600"/>
                <a:gd name="connsiteY0" fmla="*/ 0 h 2385832"/>
                <a:gd name="connsiteX1" fmla="*/ 1281600 w 1281600"/>
                <a:gd name="connsiteY1" fmla="*/ 273600 h 2385832"/>
                <a:gd name="connsiteX2" fmla="*/ 1281598 w 1281600"/>
                <a:gd name="connsiteY2" fmla="*/ 273601 h 2385832"/>
                <a:gd name="connsiteX3" fmla="*/ 1281600 w 1281600"/>
                <a:gd name="connsiteY3" fmla="*/ 273601 h 2385832"/>
                <a:gd name="connsiteX4" fmla="*/ 1281600 w 1281600"/>
                <a:gd name="connsiteY4" fmla="*/ 2111803 h 2385832"/>
                <a:gd name="connsiteX5" fmla="*/ 1280595 w 1281600"/>
                <a:gd name="connsiteY5" fmla="*/ 2111803 h 2385832"/>
                <a:gd name="connsiteX6" fmla="*/ 1281600 w 1281600"/>
                <a:gd name="connsiteY6" fmla="*/ 2112232 h 2385832"/>
                <a:gd name="connsiteX7" fmla="*/ 640800 w 1281600"/>
                <a:gd name="connsiteY7" fmla="*/ 2385832 h 2385832"/>
                <a:gd name="connsiteX8" fmla="*/ 0 w 1281600"/>
                <a:gd name="connsiteY8" fmla="*/ 2112232 h 2385832"/>
                <a:gd name="connsiteX9" fmla="*/ 1005 w 1281600"/>
                <a:gd name="connsiteY9" fmla="*/ 2111803 h 2385832"/>
                <a:gd name="connsiteX10" fmla="*/ 0 w 1281600"/>
                <a:gd name="connsiteY10" fmla="*/ 2111803 h 2385832"/>
                <a:gd name="connsiteX11" fmla="*/ 0 w 1281600"/>
                <a:gd name="connsiteY11" fmla="*/ 273601 h 2385832"/>
                <a:gd name="connsiteX12" fmla="*/ 2 w 1281600"/>
                <a:gd name="connsiteY12" fmla="*/ 273601 h 2385832"/>
                <a:gd name="connsiteX13" fmla="*/ 0 w 1281600"/>
                <a:gd name="connsiteY13" fmla="*/ 273600 h 238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1600" h="2385832">
                  <a:moveTo>
                    <a:pt x="640800" y="0"/>
                  </a:moveTo>
                  <a:lnTo>
                    <a:pt x="1281600" y="273600"/>
                  </a:lnTo>
                  <a:lnTo>
                    <a:pt x="1281598" y="273601"/>
                  </a:lnTo>
                  <a:lnTo>
                    <a:pt x="1281600" y="273601"/>
                  </a:lnTo>
                  <a:lnTo>
                    <a:pt x="1281600" y="2111803"/>
                  </a:lnTo>
                  <a:lnTo>
                    <a:pt x="1280595" y="2111803"/>
                  </a:lnTo>
                  <a:lnTo>
                    <a:pt x="1281600" y="2112232"/>
                  </a:lnTo>
                  <a:lnTo>
                    <a:pt x="640800" y="2385832"/>
                  </a:lnTo>
                  <a:lnTo>
                    <a:pt x="0" y="2112232"/>
                  </a:lnTo>
                  <a:lnTo>
                    <a:pt x="1005" y="2111803"/>
                  </a:lnTo>
                  <a:lnTo>
                    <a:pt x="0" y="2111803"/>
                  </a:lnTo>
                  <a:lnTo>
                    <a:pt x="0" y="273601"/>
                  </a:lnTo>
                  <a:lnTo>
                    <a:pt x="2" y="273601"/>
                  </a:lnTo>
                  <a:lnTo>
                    <a:pt x="0" y="273600"/>
                  </a:lnTo>
                  <a:close/>
                </a:path>
              </a:pathLst>
            </a:custGeom>
            <a:gradFill flip="none" rotWithShape="1">
              <a:gsLst>
                <a:gs pos="17000">
                  <a:srgbClr val="FFC000"/>
                </a:gs>
                <a:gs pos="39000">
                  <a:srgbClr val="C00000"/>
                </a:gs>
                <a:gs pos="100000">
                  <a:schemeClr val="accent5">
                    <a:lumMod val="40000"/>
                    <a:lumOff val="6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9E65FAD-39A7-28A8-0BB0-17D79BA2E68B}"/>
                </a:ext>
              </a:extLst>
            </p:cNvPr>
            <p:cNvSpPr/>
            <p:nvPr/>
          </p:nvSpPr>
          <p:spPr>
            <a:xfrm>
              <a:off x="4465548" y="2546749"/>
              <a:ext cx="640800" cy="2385832"/>
            </a:xfrm>
            <a:custGeom>
              <a:avLst/>
              <a:gdLst>
                <a:gd name="connsiteX0" fmla="*/ 0 w 640800"/>
                <a:gd name="connsiteY0" fmla="*/ 0 h 2385832"/>
                <a:gd name="connsiteX1" fmla="*/ 640800 w 640800"/>
                <a:gd name="connsiteY1" fmla="*/ 273600 h 2385832"/>
                <a:gd name="connsiteX2" fmla="*/ 640798 w 640800"/>
                <a:gd name="connsiteY2" fmla="*/ 273601 h 2385832"/>
                <a:gd name="connsiteX3" fmla="*/ 640800 w 640800"/>
                <a:gd name="connsiteY3" fmla="*/ 273601 h 2385832"/>
                <a:gd name="connsiteX4" fmla="*/ 640800 w 640800"/>
                <a:gd name="connsiteY4" fmla="*/ 2111803 h 2385832"/>
                <a:gd name="connsiteX5" fmla="*/ 639795 w 640800"/>
                <a:gd name="connsiteY5" fmla="*/ 2111803 h 2385832"/>
                <a:gd name="connsiteX6" fmla="*/ 640800 w 640800"/>
                <a:gd name="connsiteY6" fmla="*/ 2112232 h 2385832"/>
                <a:gd name="connsiteX7" fmla="*/ 0 w 640800"/>
                <a:gd name="connsiteY7" fmla="*/ 2385832 h 238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0800" h="2385832">
                  <a:moveTo>
                    <a:pt x="0" y="0"/>
                  </a:moveTo>
                  <a:lnTo>
                    <a:pt x="640800" y="273600"/>
                  </a:lnTo>
                  <a:lnTo>
                    <a:pt x="640798" y="273601"/>
                  </a:lnTo>
                  <a:lnTo>
                    <a:pt x="640800" y="273601"/>
                  </a:lnTo>
                  <a:lnTo>
                    <a:pt x="640800" y="2111803"/>
                  </a:lnTo>
                  <a:lnTo>
                    <a:pt x="639795" y="2111803"/>
                  </a:lnTo>
                  <a:lnTo>
                    <a:pt x="640800" y="2112232"/>
                  </a:lnTo>
                  <a:lnTo>
                    <a:pt x="0" y="2385832"/>
                  </a:lnTo>
                  <a:close/>
                </a:path>
              </a:pathLst>
            </a:custGeom>
            <a:solidFill>
              <a:schemeClr val="bg1">
                <a:alpha val="2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18" name="Diamond 17">
              <a:extLst>
                <a:ext uri="{FF2B5EF4-FFF2-40B4-BE49-F238E27FC236}">
                  <a16:creationId xmlns:a16="http://schemas.microsoft.com/office/drawing/2014/main" id="{DBA526C5-2EA2-EEE3-672A-3C784F4AE0A3}"/>
                </a:ext>
              </a:extLst>
            </p:cNvPr>
            <p:cNvSpPr/>
            <p:nvPr/>
          </p:nvSpPr>
          <p:spPr>
            <a:xfrm>
              <a:off x="3824748" y="2571136"/>
              <a:ext cx="1281600" cy="547200"/>
            </a:xfrm>
            <a:prstGeom prst="diamond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/>
            </a:p>
          </p:txBody>
        </p:sp>
      </p:grpSp>
    </p:spTree>
    <p:extLst>
      <p:ext uri="{BB962C8B-B14F-4D97-AF65-F5344CB8AC3E}">
        <p14:creationId xmlns:p14="http://schemas.microsoft.com/office/powerpoint/2010/main" val="15960056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7030A0"/>
            </a:gs>
            <a:gs pos="53000">
              <a:schemeClr val="accent1">
                <a:lumMod val="45000"/>
                <a:lumOff val="55000"/>
              </a:schemeClr>
            </a:gs>
            <a:gs pos="100000">
              <a:schemeClr val="accent4">
                <a:lumMod val="75000"/>
              </a:schemeClr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D17663BA-BF03-3697-852E-17566F68A490}"/>
              </a:ext>
            </a:extLst>
          </p:cNvPr>
          <p:cNvSpPr/>
          <p:nvPr/>
        </p:nvSpPr>
        <p:spPr>
          <a:xfrm flipH="1">
            <a:off x="730003" y="4467868"/>
            <a:ext cx="6439450" cy="2390132"/>
          </a:xfrm>
          <a:custGeom>
            <a:avLst/>
            <a:gdLst>
              <a:gd name="connsiteX0" fmla="*/ 1277014 w 6439450"/>
              <a:gd name="connsiteY0" fmla="*/ 0 h 2390132"/>
              <a:gd name="connsiteX1" fmla="*/ 1277014 w 6439450"/>
              <a:gd name="connsiteY1" fmla="*/ 4300 h 2390132"/>
              <a:gd name="connsiteX2" fmla="*/ 9573 w 6439450"/>
              <a:gd name="connsiteY2" fmla="*/ 4300 h 2390132"/>
              <a:gd name="connsiteX3" fmla="*/ 5310838 w 6439450"/>
              <a:gd name="connsiteY3" fmla="*/ 2385832 h 2390132"/>
              <a:gd name="connsiteX4" fmla="*/ 1 w 6439450"/>
              <a:gd name="connsiteY4" fmla="*/ 2385832 h 2390132"/>
              <a:gd name="connsiteX5" fmla="*/ 1 w 6439450"/>
              <a:gd name="connsiteY5" fmla="*/ 4300 h 2390132"/>
              <a:gd name="connsiteX6" fmla="*/ 0 w 6439450"/>
              <a:gd name="connsiteY6" fmla="*/ 4300 h 2390132"/>
              <a:gd name="connsiteX7" fmla="*/ 0 w 6439450"/>
              <a:gd name="connsiteY7" fmla="*/ 2390132 h 2390132"/>
              <a:gd name="connsiteX8" fmla="*/ 1277014 w 6439450"/>
              <a:gd name="connsiteY8" fmla="*/ 2390132 h 2390132"/>
              <a:gd name="connsiteX9" fmla="*/ 1281600 w 6439450"/>
              <a:gd name="connsiteY9" fmla="*/ 2390132 h 2390132"/>
              <a:gd name="connsiteX10" fmla="*/ 6439450 w 6439450"/>
              <a:gd name="connsiteY10" fmla="*/ 2390132 h 2390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39450" h="2390132">
                <a:moveTo>
                  <a:pt x="1277014" y="0"/>
                </a:moveTo>
                <a:lnTo>
                  <a:pt x="1277014" y="4300"/>
                </a:lnTo>
                <a:lnTo>
                  <a:pt x="9573" y="4300"/>
                </a:lnTo>
                <a:lnTo>
                  <a:pt x="5310838" y="2385832"/>
                </a:lnTo>
                <a:lnTo>
                  <a:pt x="1" y="2385832"/>
                </a:lnTo>
                <a:lnTo>
                  <a:pt x="1" y="4300"/>
                </a:lnTo>
                <a:lnTo>
                  <a:pt x="0" y="4300"/>
                </a:lnTo>
                <a:lnTo>
                  <a:pt x="0" y="2390132"/>
                </a:lnTo>
                <a:lnTo>
                  <a:pt x="1277014" y="2390132"/>
                </a:lnTo>
                <a:lnTo>
                  <a:pt x="1281600" y="2390132"/>
                </a:lnTo>
                <a:lnTo>
                  <a:pt x="6439450" y="2390132"/>
                </a:lnTo>
                <a:close/>
              </a:path>
            </a:pathLst>
          </a:custGeom>
          <a:solidFill>
            <a:srgbClr val="D4505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MY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DD675C0C-EDCC-022E-7502-05AC381E6D22}"/>
              </a:ext>
            </a:extLst>
          </p:cNvPr>
          <p:cNvSpPr/>
          <p:nvPr/>
        </p:nvSpPr>
        <p:spPr>
          <a:xfrm flipH="1">
            <a:off x="3298286" y="4463568"/>
            <a:ext cx="6439450" cy="2390132"/>
          </a:xfrm>
          <a:custGeom>
            <a:avLst/>
            <a:gdLst>
              <a:gd name="connsiteX0" fmla="*/ 1277014 w 6439450"/>
              <a:gd name="connsiteY0" fmla="*/ 0 h 2390132"/>
              <a:gd name="connsiteX1" fmla="*/ 1277014 w 6439450"/>
              <a:gd name="connsiteY1" fmla="*/ 4300 h 2390132"/>
              <a:gd name="connsiteX2" fmla="*/ 9573 w 6439450"/>
              <a:gd name="connsiteY2" fmla="*/ 4300 h 2390132"/>
              <a:gd name="connsiteX3" fmla="*/ 5310838 w 6439450"/>
              <a:gd name="connsiteY3" fmla="*/ 2385832 h 2390132"/>
              <a:gd name="connsiteX4" fmla="*/ 1 w 6439450"/>
              <a:gd name="connsiteY4" fmla="*/ 2385832 h 2390132"/>
              <a:gd name="connsiteX5" fmla="*/ 1 w 6439450"/>
              <a:gd name="connsiteY5" fmla="*/ 4300 h 2390132"/>
              <a:gd name="connsiteX6" fmla="*/ 0 w 6439450"/>
              <a:gd name="connsiteY6" fmla="*/ 4300 h 2390132"/>
              <a:gd name="connsiteX7" fmla="*/ 0 w 6439450"/>
              <a:gd name="connsiteY7" fmla="*/ 2390132 h 2390132"/>
              <a:gd name="connsiteX8" fmla="*/ 1277014 w 6439450"/>
              <a:gd name="connsiteY8" fmla="*/ 2390132 h 2390132"/>
              <a:gd name="connsiteX9" fmla="*/ 1281600 w 6439450"/>
              <a:gd name="connsiteY9" fmla="*/ 2390132 h 2390132"/>
              <a:gd name="connsiteX10" fmla="*/ 6439450 w 6439450"/>
              <a:gd name="connsiteY10" fmla="*/ 2390132 h 2390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39450" h="2390132">
                <a:moveTo>
                  <a:pt x="1277014" y="0"/>
                </a:moveTo>
                <a:lnTo>
                  <a:pt x="1277014" y="4300"/>
                </a:lnTo>
                <a:lnTo>
                  <a:pt x="9573" y="4300"/>
                </a:lnTo>
                <a:lnTo>
                  <a:pt x="5310838" y="2385832"/>
                </a:lnTo>
                <a:lnTo>
                  <a:pt x="1" y="2385832"/>
                </a:lnTo>
                <a:lnTo>
                  <a:pt x="1" y="4300"/>
                </a:lnTo>
                <a:lnTo>
                  <a:pt x="0" y="4300"/>
                </a:lnTo>
                <a:lnTo>
                  <a:pt x="0" y="2390132"/>
                </a:lnTo>
                <a:lnTo>
                  <a:pt x="1277014" y="2390132"/>
                </a:lnTo>
                <a:lnTo>
                  <a:pt x="1281600" y="2390132"/>
                </a:lnTo>
                <a:lnTo>
                  <a:pt x="6439450" y="2390132"/>
                </a:lnTo>
                <a:close/>
              </a:path>
            </a:pathLst>
          </a:custGeom>
          <a:solidFill>
            <a:srgbClr val="8ED97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MY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BEB8CBA8-5830-DDE6-D8D0-02FB76B011AE}"/>
              </a:ext>
            </a:extLst>
          </p:cNvPr>
          <p:cNvSpPr/>
          <p:nvPr/>
        </p:nvSpPr>
        <p:spPr>
          <a:xfrm flipH="1">
            <a:off x="1977096" y="4467868"/>
            <a:ext cx="6439450" cy="2390132"/>
          </a:xfrm>
          <a:custGeom>
            <a:avLst/>
            <a:gdLst>
              <a:gd name="connsiteX0" fmla="*/ 1277014 w 6439450"/>
              <a:gd name="connsiteY0" fmla="*/ 0 h 2390132"/>
              <a:gd name="connsiteX1" fmla="*/ 1277014 w 6439450"/>
              <a:gd name="connsiteY1" fmla="*/ 4300 h 2390132"/>
              <a:gd name="connsiteX2" fmla="*/ 9573 w 6439450"/>
              <a:gd name="connsiteY2" fmla="*/ 4300 h 2390132"/>
              <a:gd name="connsiteX3" fmla="*/ 5310838 w 6439450"/>
              <a:gd name="connsiteY3" fmla="*/ 2385832 h 2390132"/>
              <a:gd name="connsiteX4" fmla="*/ 1 w 6439450"/>
              <a:gd name="connsiteY4" fmla="*/ 2385832 h 2390132"/>
              <a:gd name="connsiteX5" fmla="*/ 1 w 6439450"/>
              <a:gd name="connsiteY5" fmla="*/ 4300 h 2390132"/>
              <a:gd name="connsiteX6" fmla="*/ 0 w 6439450"/>
              <a:gd name="connsiteY6" fmla="*/ 4300 h 2390132"/>
              <a:gd name="connsiteX7" fmla="*/ 0 w 6439450"/>
              <a:gd name="connsiteY7" fmla="*/ 2390132 h 2390132"/>
              <a:gd name="connsiteX8" fmla="*/ 1277014 w 6439450"/>
              <a:gd name="connsiteY8" fmla="*/ 2390132 h 2390132"/>
              <a:gd name="connsiteX9" fmla="*/ 1281600 w 6439450"/>
              <a:gd name="connsiteY9" fmla="*/ 2390132 h 2390132"/>
              <a:gd name="connsiteX10" fmla="*/ 6439450 w 6439450"/>
              <a:gd name="connsiteY10" fmla="*/ 2390132 h 2390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39450" h="2390132">
                <a:moveTo>
                  <a:pt x="1277014" y="0"/>
                </a:moveTo>
                <a:lnTo>
                  <a:pt x="1277014" y="4300"/>
                </a:lnTo>
                <a:lnTo>
                  <a:pt x="9573" y="4300"/>
                </a:lnTo>
                <a:lnTo>
                  <a:pt x="5310838" y="2385832"/>
                </a:lnTo>
                <a:lnTo>
                  <a:pt x="1" y="2385832"/>
                </a:lnTo>
                <a:lnTo>
                  <a:pt x="1" y="4300"/>
                </a:lnTo>
                <a:lnTo>
                  <a:pt x="0" y="4300"/>
                </a:lnTo>
                <a:lnTo>
                  <a:pt x="0" y="2390132"/>
                </a:lnTo>
                <a:lnTo>
                  <a:pt x="1277014" y="2390132"/>
                </a:lnTo>
                <a:lnTo>
                  <a:pt x="1281600" y="2390132"/>
                </a:lnTo>
                <a:lnTo>
                  <a:pt x="6439450" y="2390132"/>
                </a:lnTo>
                <a:close/>
              </a:path>
            </a:pathLst>
          </a:custGeom>
          <a:solidFill>
            <a:srgbClr val="95C6E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MY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80308C7-93BE-2D63-C599-2DDAE030FD81}"/>
              </a:ext>
            </a:extLst>
          </p:cNvPr>
          <p:cNvGrpSpPr/>
          <p:nvPr/>
        </p:nvGrpSpPr>
        <p:grpSpPr>
          <a:xfrm>
            <a:off x="7130358" y="1685379"/>
            <a:ext cx="1290775" cy="3060389"/>
            <a:chOff x="4245637" y="2072690"/>
            <a:chExt cx="1290775" cy="3060389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4A81BB3-D46B-391C-C707-193065199CCF}"/>
                </a:ext>
              </a:extLst>
            </p:cNvPr>
            <p:cNvSpPr/>
            <p:nvPr/>
          </p:nvSpPr>
          <p:spPr>
            <a:xfrm>
              <a:off x="4254812" y="2072690"/>
              <a:ext cx="1281600" cy="3060389"/>
            </a:xfrm>
            <a:custGeom>
              <a:avLst/>
              <a:gdLst>
                <a:gd name="connsiteX0" fmla="*/ 640800 w 1281600"/>
                <a:gd name="connsiteY0" fmla="*/ 0 h 3060389"/>
                <a:gd name="connsiteX1" fmla="*/ 1281600 w 1281600"/>
                <a:gd name="connsiteY1" fmla="*/ 273600 h 3060389"/>
                <a:gd name="connsiteX2" fmla="*/ 1273651 w 1281600"/>
                <a:gd name="connsiteY2" fmla="*/ 276994 h 3060389"/>
                <a:gd name="connsiteX3" fmla="*/ 1281600 w 1281600"/>
                <a:gd name="connsiteY3" fmla="*/ 276994 h 3060389"/>
                <a:gd name="connsiteX4" fmla="*/ 1281600 w 1281600"/>
                <a:gd name="connsiteY4" fmla="*/ 2786359 h 3060389"/>
                <a:gd name="connsiteX5" fmla="*/ 1280593 w 1281600"/>
                <a:gd name="connsiteY5" fmla="*/ 2786359 h 3060389"/>
                <a:gd name="connsiteX6" fmla="*/ 1281600 w 1281600"/>
                <a:gd name="connsiteY6" fmla="*/ 2786789 h 3060389"/>
                <a:gd name="connsiteX7" fmla="*/ 640800 w 1281600"/>
                <a:gd name="connsiteY7" fmla="*/ 3060389 h 3060389"/>
                <a:gd name="connsiteX8" fmla="*/ 0 w 1281600"/>
                <a:gd name="connsiteY8" fmla="*/ 2786789 h 3060389"/>
                <a:gd name="connsiteX9" fmla="*/ 1007 w 1281600"/>
                <a:gd name="connsiteY9" fmla="*/ 2786359 h 3060389"/>
                <a:gd name="connsiteX10" fmla="*/ 0 w 1281600"/>
                <a:gd name="connsiteY10" fmla="*/ 2786359 h 3060389"/>
                <a:gd name="connsiteX11" fmla="*/ 0 w 1281600"/>
                <a:gd name="connsiteY11" fmla="*/ 276994 h 3060389"/>
                <a:gd name="connsiteX12" fmla="*/ 7949 w 1281600"/>
                <a:gd name="connsiteY12" fmla="*/ 276994 h 3060389"/>
                <a:gd name="connsiteX13" fmla="*/ 0 w 1281600"/>
                <a:gd name="connsiteY13" fmla="*/ 273600 h 306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1600" h="3060389">
                  <a:moveTo>
                    <a:pt x="640800" y="0"/>
                  </a:moveTo>
                  <a:lnTo>
                    <a:pt x="1281600" y="273600"/>
                  </a:lnTo>
                  <a:lnTo>
                    <a:pt x="1273651" y="276994"/>
                  </a:lnTo>
                  <a:lnTo>
                    <a:pt x="1281600" y="276994"/>
                  </a:lnTo>
                  <a:lnTo>
                    <a:pt x="1281600" y="2786359"/>
                  </a:lnTo>
                  <a:lnTo>
                    <a:pt x="1280593" y="2786359"/>
                  </a:lnTo>
                  <a:lnTo>
                    <a:pt x="1281600" y="2786789"/>
                  </a:lnTo>
                  <a:lnTo>
                    <a:pt x="640800" y="3060389"/>
                  </a:lnTo>
                  <a:lnTo>
                    <a:pt x="0" y="2786789"/>
                  </a:lnTo>
                  <a:lnTo>
                    <a:pt x="1007" y="2786359"/>
                  </a:lnTo>
                  <a:lnTo>
                    <a:pt x="0" y="2786359"/>
                  </a:lnTo>
                  <a:lnTo>
                    <a:pt x="0" y="276994"/>
                  </a:lnTo>
                  <a:lnTo>
                    <a:pt x="7949" y="276994"/>
                  </a:lnTo>
                  <a:lnTo>
                    <a:pt x="0" y="27360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7030A0"/>
                </a:gs>
                <a:gs pos="53000">
                  <a:schemeClr val="accent1">
                    <a:lumMod val="45000"/>
                    <a:lumOff val="55000"/>
                  </a:schemeClr>
                </a:gs>
                <a:gs pos="1000">
                  <a:schemeClr val="accent4">
                    <a:lumMod val="7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116B66F-2729-994D-9D84-631FA3973592}"/>
                </a:ext>
              </a:extLst>
            </p:cNvPr>
            <p:cNvSpPr/>
            <p:nvPr/>
          </p:nvSpPr>
          <p:spPr>
            <a:xfrm>
              <a:off x="4895612" y="2072690"/>
              <a:ext cx="640800" cy="3060389"/>
            </a:xfrm>
            <a:custGeom>
              <a:avLst/>
              <a:gdLst>
                <a:gd name="connsiteX0" fmla="*/ 0 w 640800"/>
                <a:gd name="connsiteY0" fmla="*/ 0 h 3060389"/>
                <a:gd name="connsiteX1" fmla="*/ 640800 w 640800"/>
                <a:gd name="connsiteY1" fmla="*/ 273600 h 3060389"/>
                <a:gd name="connsiteX2" fmla="*/ 632851 w 640800"/>
                <a:gd name="connsiteY2" fmla="*/ 276994 h 3060389"/>
                <a:gd name="connsiteX3" fmla="*/ 640800 w 640800"/>
                <a:gd name="connsiteY3" fmla="*/ 276994 h 3060389"/>
                <a:gd name="connsiteX4" fmla="*/ 640800 w 640800"/>
                <a:gd name="connsiteY4" fmla="*/ 2786359 h 3060389"/>
                <a:gd name="connsiteX5" fmla="*/ 639793 w 640800"/>
                <a:gd name="connsiteY5" fmla="*/ 2786359 h 3060389"/>
                <a:gd name="connsiteX6" fmla="*/ 640800 w 640800"/>
                <a:gd name="connsiteY6" fmla="*/ 2786789 h 3060389"/>
                <a:gd name="connsiteX7" fmla="*/ 0 w 640800"/>
                <a:gd name="connsiteY7" fmla="*/ 3060389 h 306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0800" h="3060389">
                  <a:moveTo>
                    <a:pt x="0" y="0"/>
                  </a:moveTo>
                  <a:lnTo>
                    <a:pt x="640800" y="273600"/>
                  </a:lnTo>
                  <a:lnTo>
                    <a:pt x="632851" y="276994"/>
                  </a:lnTo>
                  <a:lnTo>
                    <a:pt x="640800" y="276994"/>
                  </a:lnTo>
                  <a:lnTo>
                    <a:pt x="640800" y="2786359"/>
                  </a:lnTo>
                  <a:lnTo>
                    <a:pt x="639793" y="2786359"/>
                  </a:lnTo>
                  <a:lnTo>
                    <a:pt x="640800" y="2786789"/>
                  </a:lnTo>
                  <a:lnTo>
                    <a:pt x="0" y="3060389"/>
                  </a:lnTo>
                  <a:close/>
                </a:path>
              </a:pathLst>
            </a:custGeom>
            <a:solidFill>
              <a:schemeClr val="bg1">
                <a:alpha val="2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19" name="Diamond 18">
              <a:extLst>
                <a:ext uri="{FF2B5EF4-FFF2-40B4-BE49-F238E27FC236}">
                  <a16:creationId xmlns:a16="http://schemas.microsoft.com/office/drawing/2014/main" id="{AA80F8F1-6343-0CC0-C123-45CED37D7CEE}"/>
                </a:ext>
              </a:extLst>
            </p:cNvPr>
            <p:cNvSpPr/>
            <p:nvPr/>
          </p:nvSpPr>
          <p:spPr>
            <a:xfrm>
              <a:off x="4254812" y="2072690"/>
              <a:ext cx="1281600" cy="547200"/>
            </a:xfrm>
            <a:prstGeom prst="diamond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4206867-7C07-7E64-0ED4-EF5DD54F83F9}"/>
                </a:ext>
              </a:extLst>
            </p:cNvPr>
            <p:cNvSpPr/>
            <p:nvPr/>
          </p:nvSpPr>
          <p:spPr>
            <a:xfrm>
              <a:off x="4245637" y="4585879"/>
              <a:ext cx="640800" cy="547200"/>
            </a:xfrm>
            <a:custGeom>
              <a:avLst/>
              <a:gdLst>
                <a:gd name="connsiteX0" fmla="*/ 640800 w 640800"/>
                <a:gd name="connsiteY0" fmla="*/ 0 h 547200"/>
                <a:gd name="connsiteX1" fmla="*/ 640800 w 640800"/>
                <a:gd name="connsiteY1" fmla="*/ 547200 h 547200"/>
                <a:gd name="connsiteX2" fmla="*/ 0 w 640800"/>
                <a:gd name="connsiteY2" fmla="*/ 273600 h 54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0800" h="547200">
                  <a:moveTo>
                    <a:pt x="640800" y="0"/>
                  </a:moveTo>
                  <a:lnTo>
                    <a:pt x="640800" y="547200"/>
                  </a:lnTo>
                  <a:lnTo>
                    <a:pt x="0" y="273600"/>
                  </a:lnTo>
                  <a:close/>
                </a:path>
              </a:pathLst>
            </a:custGeom>
            <a:gradFill flip="none" rotWithShape="1">
              <a:gsLst>
                <a:gs pos="8000">
                  <a:srgbClr val="0070C0"/>
                </a:gs>
                <a:gs pos="51000">
                  <a:schemeClr val="accent1">
                    <a:lumMod val="45000"/>
                    <a:lumOff val="5500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0102408F-711C-8A9B-FCEC-4D0D667DCCDD}"/>
                </a:ext>
              </a:extLst>
            </p:cNvPr>
            <p:cNvSpPr/>
            <p:nvPr/>
          </p:nvSpPr>
          <p:spPr>
            <a:xfrm flipH="1">
              <a:off x="4886437" y="4585879"/>
              <a:ext cx="640800" cy="547200"/>
            </a:xfrm>
            <a:custGeom>
              <a:avLst/>
              <a:gdLst>
                <a:gd name="connsiteX0" fmla="*/ 640800 w 640800"/>
                <a:gd name="connsiteY0" fmla="*/ 0 h 547200"/>
                <a:gd name="connsiteX1" fmla="*/ 640800 w 640800"/>
                <a:gd name="connsiteY1" fmla="*/ 547200 h 547200"/>
                <a:gd name="connsiteX2" fmla="*/ 0 w 640800"/>
                <a:gd name="connsiteY2" fmla="*/ 273600 h 54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0800" h="547200">
                  <a:moveTo>
                    <a:pt x="640800" y="0"/>
                  </a:moveTo>
                  <a:lnTo>
                    <a:pt x="640800" y="547200"/>
                  </a:lnTo>
                  <a:lnTo>
                    <a:pt x="0" y="273600"/>
                  </a:lnTo>
                  <a:close/>
                </a:path>
              </a:pathLst>
            </a:custGeom>
            <a:gradFill flip="none" rotWithShape="1">
              <a:gsLst>
                <a:gs pos="42000">
                  <a:schemeClr val="accent6">
                    <a:lumMod val="40000"/>
                    <a:lumOff val="60000"/>
                  </a:schemeClr>
                </a:gs>
                <a:gs pos="79000">
                  <a:schemeClr val="accent1">
                    <a:lumMod val="45000"/>
                    <a:lumOff val="5500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E714D43-9B71-F05D-FF40-07F529991D19}"/>
              </a:ext>
            </a:extLst>
          </p:cNvPr>
          <p:cNvGrpSpPr/>
          <p:nvPr/>
        </p:nvGrpSpPr>
        <p:grpSpPr>
          <a:xfrm>
            <a:off x="5857932" y="2335549"/>
            <a:ext cx="1290775" cy="2410219"/>
            <a:chOff x="2423453" y="2375091"/>
            <a:chExt cx="1290775" cy="2410219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0CDAEB-41C4-3946-9D5F-05AC9BA551FC}"/>
                </a:ext>
              </a:extLst>
            </p:cNvPr>
            <p:cNvSpPr/>
            <p:nvPr/>
          </p:nvSpPr>
          <p:spPr>
            <a:xfrm>
              <a:off x="2423453" y="2399478"/>
              <a:ext cx="1281600" cy="2385832"/>
            </a:xfrm>
            <a:custGeom>
              <a:avLst/>
              <a:gdLst>
                <a:gd name="connsiteX0" fmla="*/ 640800 w 1281600"/>
                <a:gd name="connsiteY0" fmla="*/ 0 h 2385832"/>
                <a:gd name="connsiteX1" fmla="*/ 1281600 w 1281600"/>
                <a:gd name="connsiteY1" fmla="*/ 273600 h 2385832"/>
                <a:gd name="connsiteX2" fmla="*/ 1281598 w 1281600"/>
                <a:gd name="connsiteY2" fmla="*/ 273601 h 2385832"/>
                <a:gd name="connsiteX3" fmla="*/ 1281600 w 1281600"/>
                <a:gd name="connsiteY3" fmla="*/ 273601 h 2385832"/>
                <a:gd name="connsiteX4" fmla="*/ 1281600 w 1281600"/>
                <a:gd name="connsiteY4" fmla="*/ 2111803 h 2385832"/>
                <a:gd name="connsiteX5" fmla="*/ 1280595 w 1281600"/>
                <a:gd name="connsiteY5" fmla="*/ 2111803 h 2385832"/>
                <a:gd name="connsiteX6" fmla="*/ 1281600 w 1281600"/>
                <a:gd name="connsiteY6" fmla="*/ 2112232 h 2385832"/>
                <a:gd name="connsiteX7" fmla="*/ 640800 w 1281600"/>
                <a:gd name="connsiteY7" fmla="*/ 2385832 h 2385832"/>
                <a:gd name="connsiteX8" fmla="*/ 0 w 1281600"/>
                <a:gd name="connsiteY8" fmla="*/ 2112232 h 2385832"/>
                <a:gd name="connsiteX9" fmla="*/ 1005 w 1281600"/>
                <a:gd name="connsiteY9" fmla="*/ 2111803 h 2385832"/>
                <a:gd name="connsiteX10" fmla="*/ 0 w 1281600"/>
                <a:gd name="connsiteY10" fmla="*/ 2111803 h 2385832"/>
                <a:gd name="connsiteX11" fmla="*/ 0 w 1281600"/>
                <a:gd name="connsiteY11" fmla="*/ 273601 h 2385832"/>
                <a:gd name="connsiteX12" fmla="*/ 2 w 1281600"/>
                <a:gd name="connsiteY12" fmla="*/ 273601 h 2385832"/>
                <a:gd name="connsiteX13" fmla="*/ 0 w 1281600"/>
                <a:gd name="connsiteY13" fmla="*/ 273600 h 238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1600" h="2385832">
                  <a:moveTo>
                    <a:pt x="640800" y="0"/>
                  </a:moveTo>
                  <a:lnTo>
                    <a:pt x="1281600" y="273600"/>
                  </a:lnTo>
                  <a:lnTo>
                    <a:pt x="1281598" y="273601"/>
                  </a:lnTo>
                  <a:lnTo>
                    <a:pt x="1281600" y="273601"/>
                  </a:lnTo>
                  <a:lnTo>
                    <a:pt x="1281600" y="2111803"/>
                  </a:lnTo>
                  <a:lnTo>
                    <a:pt x="1280595" y="2111803"/>
                  </a:lnTo>
                  <a:lnTo>
                    <a:pt x="1281600" y="2112232"/>
                  </a:lnTo>
                  <a:lnTo>
                    <a:pt x="640800" y="2385832"/>
                  </a:lnTo>
                  <a:lnTo>
                    <a:pt x="0" y="2112232"/>
                  </a:lnTo>
                  <a:lnTo>
                    <a:pt x="1005" y="2111803"/>
                  </a:lnTo>
                  <a:lnTo>
                    <a:pt x="0" y="2111803"/>
                  </a:lnTo>
                  <a:lnTo>
                    <a:pt x="0" y="273601"/>
                  </a:lnTo>
                  <a:lnTo>
                    <a:pt x="2" y="273601"/>
                  </a:lnTo>
                  <a:lnTo>
                    <a:pt x="0" y="273600"/>
                  </a:lnTo>
                  <a:close/>
                </a:path>
              </a:pathLst>
            </a:custGeom>
            <a:gradFill flip="none" rotWithShape="1">
              <a:gsLst>
                <a:gs pos="17000">
                  <a:srgbClr val="FFC000"/>
                </a:gs>
                <a:gs pos="39000">
                  <a:srgbClr val="C00000"/>
                </a:gs>
                <a:gs pos="100000">
                  <a:schemeClr val="accent5">
                    <a:lumMod val="40000"/>
                    <a:lumOff val="6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9E65FAD-39A7-28A8-0BB0-17D79BA2E68B}"/>
                </a:ext>
              </a:extLst>
            </p:cNvPr>
            <p:cNvSpPr/>
            <p:nvPr/>
          </p:nvSpPr>
          <p:spPr>
            <a:xfrm>
              <a:off x="3064253" y="2375091"/>
              <a:ext cx="640800" cy="2385832"/>
            </a:xfrm>
            <a:custGeom>
              <a:avLst/>
              <a:gdLst>
                <a:gd name="connsiteX0" fmla="*/ 0 w 640800"/>
                <a:gd name="connsiteY0" fmla="*/ 0 h 2385832"/>
                <a:gd name="connsiteX1" fmla="*/ 640800 w 640800"/>
                <a:gd name="connsiteY1" fmla="*/ 273600 h 2385832"/>
                <a:gd name="connsiteX2" fmla="*/ 640798 w 640800"/>
                <a:gd name="connsiteY2" fmla="*/ 273601 h 2385832"/>
                <a:gd name="connsiteX3" fmla="*/ 640800 w 640800"/>
                <a:gd name="connsiteY3" fmla="*/ 273601 h 2385832"/>
                <a:gd name="connsiteX4" fmla="*/ 640800 w 640800"/>
                <a:gd name="connsiteY4" fmla="*/ 2111803 h 2385832"/>
                <a:gd name="connsiteX5" fmla="*/ 639795 w 640800"/>
                <a:gd name="connsiteY5" fmla="*/ 2111803 h 2385832"/>
                <a:gd name="connsiteX6" fmla="*/ 640800 w 640800"/>
                <a:gd name="connsiteY6" fmla="*/ 2112232 h 2385832"/>
                <a:gd name="connsiteX7" fmla="*/ 0 w 640800"/>
                <a:gd name="connsiteY7" fmla="*/ 2385832 h 238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0800" h="2385832">
                  <a:moveTo>
                    <a:pt x="0" y="0"/>
                  </a:moveTo>
                  <a:lnTo>
                    <a:pt x="640800" y="273600"/>
                  </a:lnTo>
                  <a:lnTo>
                    <a:pt x="640798" y="273601"/>
                  </a:lnTo>
                  <a:lnTo>
                    <a:pt x="640800" y="273601"/>
                  </a:lnTo>
                  <a:lnTo>
                    <a:pt x="640800" y="2111803"/>
                  </a:lnTo>
                  <a:lnTo>
                    <a:pt x="639795" y="2111803"/>
                  </a:lnTo>
                  <a:lnTo>
                    <a:pt x="640800" y="2112232"/>
                  </a:lnTo>
                  <a:lnTo>
                    <a:pt x="0" y="2385832"/>
                  </a:lnTo>
                  <a:close/>
                </a:path>
              </a:pathLst>
            </a:custGeom>
            <a:solidFill>
              <a:schemeClr val="bg1">
                <a:alpha val="2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18" name="Diamond 17">
              <a:extLst>
                <a:ext uri="{FF2B5EF4-FFF2-40B4-BE49-F238E27FC236}">
                  <a16:creationId xmlns:a16="http://schemas.microsoft.com/office/drawing/2014/main" id="{DBA526C5-2EA2-EEE3-672A-3C784F4AE0A3}"/>
                </a:ext>
              </a:extLst>
            </p:cNvPr>
            <p:cNvSpPr/>
            <p:nvPr/>
          </p:nvSpPr>
          <p:spPr>
            <a:xfrm>
              <a:off x="2423453" y="2399478"/>
              <a:ext cx="1281600" cy="547200"/>
            </a:xfrm>
            <a:prstGeom prst="diamond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D332E8E-B977-0E54-35F9-6AAEF19B7974}"/>
                </a:ext>
              </a:extLst>
            </p:cNvPr>
            <p:cNvSpPr/>
            <p:nvPr/>
          </p:nvSpPr>
          <p:spPr>
            <a:xfrm>
              <a:off x="2432628" y="4238110"/>
              <a:ext cx="640800" cy="547200"/>
            </a:xfrm>
            <a:custGeom>
              <a:avLst/>
              <a:gdLst>
                <a:gd name="connsiteX0" fmla="*/ 640800 w 640800"/>
                <a:gd name="connsiteY0" fmla="*/ 0 h 547200"/>
                <a:gd name="connsiteX1" fmla="*/ 640800 w 640800"/>
                <a:gd name="connsiteY1" fmla="*/ 547200 h 547200"/>
                <a:gd name="connsiteX2" fmla="*/ 0 w 640800"/>
                <a:gd name="connsiteY2" fmla="*/ 273600 h 54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0800" h="547200">
                  <a:moveTo>
                    <a:pt x="640800" y="0"/>
                  </a:moveTo>
                  <a:lnTo>
                    <a:pt x="640800" y="547200"/>
                  </a:lnTo>
                  <a:lnTo>
                    <a:pt x="0" y="273600"/>
                  </a:lnTo>
                  <a:close/>
                </a:path>
              </a:pathLst>
            </a:custGeom>
            <a:gradFill>
              <a:gsLst>
                <a:gs pos="16000">
                  <a:schemeClr val="accent2"/>
                </a:gs>
                <a:gs pos="74000">
                  <a:srgbClr val="FFFF00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EAE7174-4B10-29AA-B541-65222EAE3A31}"/>
                </a:ext>
              </a:extLst>
            </p:cNvPr>
            <p:cNvSpPr/>
            <p:nvPr/>
          </p:nvSpPr>
          <p:spPr>
            <a:xfrm flipH="1">
              <a:off x="3073428" y="4238110"/>
              <a:ext cx="640800" cy="547200"/>
            </a:xfrm>
            <a:custGeom>
              <a:avLst/>
              <a:gdLst>
                <a:gd name="connsiteX0" fmla="*/ 640800 w 640800"/>
                <a:gd name="connsiteY0" fmla="*/ 0 h 547200"/>
                <a:gd name="connsiteX1" fmla="*/ 640800 w 640800"/>
                <a:gd name="connsiteY1" fmla="*/ 547200 h 547200"/>
                <a:gd name="connsiteX2" fmla="*/ 0 w 640800"/>
                <a:gd name="connsiteY2" fmla="*/ 273600 h 54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0800" h="547200">
                  <a:moveTo>
                    <a:pt x="640800" y="0"/>
                  </a:moveTo>
                  <a:lnTo>
                    <a:pt x="640800" y="547200"/>
                  </a:lnTo>
                  <a:lnTo>
                    <a:pt x="0" y="273600"/>
                  </a:lnTo>
                  <a:close/>
                </a:path>
              </a:pathLst>
            </a:custGeom>
            <a:gradFill>
              <a:gsLst>
                <a:gs pos="16000">
                  <a:schemeClr val="accent2"/>
                </a:gs>
                <a:gs pos="74000">
                  <a:srgbClr val="FFFF00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8F60B86-9F8A-DA6A-C7CA-AC7E60D333B8}"/>
              </a:ext>
            </a:extLst>
          </p:cNvPr>
          <p:cNvGrpSpPr/>
          <p:nvPr/>
        </p:nvGrpSpPr>
        <p:grpSpPr>
          <a:xfrm>
            <a:off x="8430308" y="697549"/>
            <a:ext cx="1281600" cy="4048219"/>
            <a:chOff x="6096000" y="959282"/>
            <a:chExt cx="1281600" cy="4048219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A99EDF0-1FCE-ED28-EC08-C22BF64D4B86}"/>
                </a:ext>
              </a:extLst>
            </p:cNvPr>
            <p:cNvSpPr/>
            <p:nvPr/>
          </p:nvSpPr>
          <p:spPr>
            <a:xfrm>
              <a:off x="6096000" y="972751"/>
              <a:ext cx="1281600" cy="4034750"/>
            </a:xfrm>
            <a:custGeom>
              <a:avLst/>
              <a:gdLst>
                <a:gd name="connsiteX0" fmla="*/ 640800 w 1281600"/>
                <a:gd name="connsiteY0" fmla="*/ 0 h 4034750"/>
                <a:gd name="connsiteX1" fmla="*/ 1281600 w 1281600"/>
                <a:gd name="connsiteY1" fmla="*/ 273600 h 4034750"/>
                <a:gd name="connsiteX2" fmla="*/ 1273649 w 1281600"/>
                <a:gd name="connsiteY2" fmla="*/ 276995 h 4034750"/>
                <a:gd name="connsiteX3" fmla="*/ 1281600 w 1281600"/>
                <a:gd name="connsiteY3" fmla="*/ 276995 h 4034750"/>
                <a:gd name="connsiteX4" fmla="*/ 1281600 w 1281600"/>
                <a:gd name="connsiteY4" fmla="*/ 3760721 h 4034750"/>
                <a:gd name="connsiteX5" fmla="*/ 1280596 w 1281600"/>
                <a:gd name="connsiteY5" fmla="*/ 3760721 h 4034750"/>
                <a:gd name="connsiteX6" fmla="*/ 1281600 w 1281600"/>
                <a:gd name="connsiteY6" fmla="*/ 3761150 h 4034750"/>
                <a:gd name="connsiteX7" fmla="*/ 640800 w 1281600"/>
                <a:gd name="connsiteY7" fmla="*/ 4034750 h 4034750"/>
                <a:gd name="connsiteX8" fmla="*/ 0 w 1281600"/>
                <a:gd name="connsiteY8" fmla="*/ 3761150 h 4034750"/>
                <a:gd name="connsiteX9" fmla="*/ 1005 w 1281600"/>
                <a:gd name="connsiteY9" fmla="*/ 3760721 h 4034750"/>
                <a:gd name="connsiteX10" fmla="*/ 0 w 1281600"/>
                <a:gd name="connsiteY10" fmla="*/ 3760721 h 4034750"/>
                <a:gd name="connsiteX11" fmla="*/ 0 w 1281600"/>
                <a:gd name="connsiteY11" fmla="*/ 276995 h 4034750"/>
                <a:gd name="connsiteX12" fmla="*/ 7952 w 1281600"/>
                <a:gd name="connsiteY12" fmla="*/ 276995 h 4034750"/>
                <a:gd name="connsiteX13" fmla="*/ 0 w 1281600"/>
                <a:gd name="connsiteY13" fmla="*/ 273600 h 4034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1600" h="4034750">
                  <a:moveTo>
                    <a:pt x="640800" y="0"/>
                  </a:moveTo>
                  <a:lnTo>
                    <a:pt x="1281600" y="273600"/>
                  </a:lnTo>
                  <a:lnTo>
                    <a:pt x="1273649" y="276995"/>
                  </a:lnTo>
                  <a:lnTo>
                    <a:pt x="1281600" y="276995"/>
                  </a:lnTo>
                  <a:lnTo>
                    <a:pt x="1281600" y="3760721"/>
                  </a:lnTo>
                  <a:lnTo>
                    <a:pt x="1280596" y="3760721"/>
                  </a:lnTo>
                  <a:lnTo>
                    <a:pt x="1281600" y="3761150"/>
                  </a:lnTo>
                  <a:lnTo>
                    <a:pt x="640800" y="4034750"/>
                  </a:lnTo>
                  <a:lnTo>
                    <a:pt x="0" y="3761150"/>
                  </a:lnTo>
                  <a:lnTo>
                    <a:pt x="1005" y="3760721"/>
                  </a:lnTo>
                  <a:lnTo>
                    <a:pt x="0" y="3760721"/>
                  </a:lnTo>
                  <a:lnTo>
                    <a:pt x="0" y="276995"/>
                  </a:lnTo>
                  <a:lnTo>
                    <a:pt x="7952" y="276995"/>
                  </a:lnTo>
                  <a:lnTo>
                    <a:pt x="0" y="273600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6">
                    <a:lumMod val="75000"/>
                  </a:schemeClr>
                </a:gs>
                <a:gs pos="53000">
                  <a:schemeClr val="accent1">
                    <a:lumMod val="45000"/>
                    <a:lumOff val="55000"/>
                  </a:schemeClr>
                </a:gs>
                <a:gs pos="0">
                  <a:schemeClr val="accent6">
                    <a:lumMod val="40000"/>
                    <a:lumOff val="6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FC414B5-A780-2437-FD08-64B5BDC761A1}"/>
                </a:ext>
              </a:extLst>
            </p:cNvPr>
            <p:cNvSpPr/>
            <p:nvPr/>
          </p:nvSpPr>
          <p:spPr>
            <a:xfrm>
              <a:off x="6736800" y="972751"/>
              <a:ext cx="640800" cy="4034750"/>
            </a:xfrm>
            <a:custGeom>
              <a:avLst/>
              <a:gdLst>
                <a:gd name="connsiteX0" fmla="*/ 0 w 640800"/>
                <a:gd name="connsiteY0" fmla="*/ 0 h 4034750"/>
                <a:gd name="connsiteX1" fmla="*/ 640800 w 640800"/>
                <a:gd name="connsiteY1" fmla="*/ 273600 h 4034750"/>
                <a:gd name="connsiteX2" fmla="*/ 632849 w 640800"/>
                <a:gd name="connsiteY2" fmla="*/ 276995 h 4034750"/>
                <a:gd name="connsiteX3" fmla="*/ 640800 w 640800"/>
                <a:gd name="connsiteY3" fmla="*/ 276995 h 4034750"/>
                <a:gd name="connsiteX4" fmla="*/ 640800 w 640800"/>
                <a:gd name="connsiteY4" fmla="*/ 3760721 h 4034750"/>
                <a:gd name="connsiteX5" fmla="*/ 639796 w 640800"/>
                <a:gd name="connsiteY5" fmla="*/ 3760721 h 4034750"/>
                <a:gd name="connsiteX6" fmla="*/ 640800 w 640800"/>
                <a:gd name="connsiteY6" fmla="*/ 3761150 h 4034750"/>
                <a:gd name="connsiteX7" fmla="*/ 0 w 640800"/>
                <a:gd name="connsiteY7" fmla="*/ 4034750 h 4034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0800" h="4034750">
                  <a:moveTo>
                    <a:pt x="0" y="0"/>
                  </a:moveTo>
                  <a:lnTo>
                    <a:pt x="640800" y="273600"/>
                  </a:lnTo>
                  <a:lnTo>
                    <a:pt x="632849" y="276995"/>
                  </a:lnTo>
                  <a:lnTo>
                    <a:pt x="640800" y="276995"/>
                  </a:lnTo>
                  <a:lnTo>
                    <a:pt x="640800" y="3760721"/>
                  </a:lnTo>
                  <a:lnTo>
                    <a:pt x="639796" y="3760721"/>
                  </a:lnTo>
                  <a:lnTo>
                    <a:pt x="640800" y="3761150"/>
                  </a:lnTo>
                  <a:lnTo>
                    <a:pt x="0" y="4034750"/>
                  </a:lnTo>
                  <a:close/>
                </a:path>
              </a:pathLst>
            </a:custGeom>
            <a:solidFill>
              <a:schemeClr val="bg1">
                <a:alpha val="2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20" name="Diamond 19">
              <a:extLst>
                <a:ext uri="{FF2B5EF4-FFF2-40B4-BE49-F238E27FC236}">
                  <a16:creationId xmlns:a16="http://schemas.microsoft.com/office/drawing/2014/main" id="{EB3AE01A-7368-EC66-3B65-05478A50A3B8}"/>
                </a:ext>
              </a:extLst>
            </p:cNvPr>
            <p:cNvSpPr/>
            <p:nvPr/>
          </p:nvSpPr>
          <p:spPr>
            <a:xfrm>
              <a:off x="6096000" y="959282"/>
              <a:ext cx="1281600" cy="547200"/>
            </a:xfrm>
            <a:prstGeom prst="diamond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68CAD26-39B6-13A7-362B-3B19E34925F9}"/>
                </a:ext>
              </a:extLst>
            </p:cNvPr>
            <p:cNvSpPr/>
            <p:nvPr/>
          </p:nvSpPr>
          <p:spPr>
            <a:xfrm>
              <a:off x="6096000" y="4460301"/>
              <a:ext cx="640800" cy="547200"/>
            </a:xfrm>
            <a:custGeom>
              <a:avLst/>
              <a:gdLst>
                <a:gd name="connsiteX0" fmla="*/ 640800 w 640800"/>
                <a:gd name="connsiteY0" fmla="*/ 0 h 547200"/>
                <a:gd name="connsiteX1" fmla="*/ 640800 w 640800"/>
                <a:gd name="connsiteY1" fmla="*/ 547200 h 547200"/>
                <a:gd name="connsiteX2" fmla="*/ 0 w 640800"/>
                <a:gd name="connsiteY2" fmla="*/ 273600 h 54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0800" h="547200">
                  <a:moveTo>
                    <a:pt x="640800" y="0"/>
                  </a:moveTo>
                  <a:lnTo>
                    <a:pt x="640800" y="547200"/>
                  </a:lnTo>
                  <a:lnTo>
                    <a:pt x="0" y="273600"/>
                  </a:lnTo>
                  <a:close/>
                </a:path>
              </a:pathLst>
            </a:custGeom>
            <a:gradFill>
              <a:gsLst>
                <a:gs pos="53000">
                  <a:schemeClr val="accent6">
                    <a:lumMod val="60000"/>
                    <a:lumOff val="40000"/>
                  </a:schemeClr>
                </a:gs>
                <a:gs pos="100000">
                  <a:schemeClr val="accent4">
                    <a:lumMod val="75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C279784-FF1B-6429-549A-F0D3CE414004}"/>
                </a:ext>
              </a:extLst>
            </p:cNvPr>
            <p:cNvSpPr/>
            <p:nvPr/>
          </p:nvSpPr>
          <p:spPr>
            <a:xfrm flipH="1">
              <a:off x="6736800" y="4460301"/>
              <a:ext cx="640800" cy="547200"/>
            </a:xfrm>
            <a:custGeom>
              <a:avLst/>
              <a:gdLst>
                <a:gd name="connsiteX0" fmla="*/ 640800 w 640800"/>
                <a:gd name="connsiteY0" fmla="*/ 0 h 547200"/>
                <a:gd name="connsiteX1" fmla="*/ 640800 w 640800"/>
                <a:gd name="connsiteY1" fmla="*/ 547200 h 547200"/>
                <a:gd name="connsiteX2" fmla="*/ 0 w 640800"/>
                <a:gd name="connsiteY2" fmla="*/ 273600 h 54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0800" h="547200">
                  <a:moveTo>
                    <a:pt x="640800" y="0"/>
                  </a:moveTo>
                  <a:lnTo>
                    <a:pt x="640800" y="547200"/>
                  </a:lnTo>
                  <a:lnTo>
                    <a:pt x="0" y="273600"/>
                  </a:lnTo>
                  <a:close/>
                </a:path>
              </a:pathLst>
            </a:custGeom>
            <a:gradFill>
              <a:gsLst>
                <a:gs pos="53000">
                  <a:schemeClr val="accent6">
                    <a:lumMod val="60000"/>
                    <a:lumOff val="40000"/>
                  </a:schemeClr>
                </a:gs>
                <a:gs pos="100000">
                  <a:schemeClr val="accent4">
                    <a:lumMod val="75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</p:grpSp>
      <p:sp>
        <p:nvSpPr>
          <p:cNvPr id="42" name="Oval 41">
            <a:extLst>
              <a:ext uri="{FF2B5EF4-FFF2-40B4-BE49-F238E27FC236}">
                <a16:creationId xmlns:a16="http://schemas.microsoft.com/office/drawing/2014/main" id="{00EF1AA4-3841-4579-158F-6E496EAA447C}"/>
              </a:ext>
            </a:extLst>
          </p:cNvPr>
          <p:cNvSpPr/>
          <p:nvPr/>
        </p:nvSpPr>
        <p:spPr>
          <a:xfrm>
            <a:off x="-517090" y="6525619"/>
            <a:ext cx="6741722" cy="664762"/>
          </a:xfrm>
          <a:prstGeom prst="ellipse">
            <a:avLst/>
          </a:prstGeom>
          <a:solidFill>
            <a:schemeClr val="tx1">
              <a:alpha val="54000"/>
            </a:schemeClr>
          </a:solidFill>
          <a:ln>
            <a:noFill/>
          </a:ln>
          <a:effectLst>
            <a:softEdge rad="2032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B7EFB23-D4F6-A76B-9DE4-09B5151CB0F6}"/>
              </a:ext>
            </a:extLst>
          </p:cNvPr>
          <p:cNvSpPr/>
          <p:nvPr/>
        </p:nvSpPr>
        <p:spPr>
          <a:xfrm>
            <a:off x="4108393" y="451533"/>
            <a:ext cx="1547446" cy="3634154"/>
          </a:xfrm>
          <a:prstGeom prst="rect">
            <a:avLst/>
          </a:prstGeom>
          <a:solidFill>
            <a:schemeClr val="bg1">
              <a:lumMod val="75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44" name="Right Triangle 43">
            <a:extLst>
              <a:ext uri="{FF2B5EF4-FFF2-40B4-BE49-F238E27FC236}">
                <a16:creationId xmlns:a16="http://schemas.microsoft.com/office/drawing/2014/main" id="{5CE2524D-EDE5-3D8B-1253-8F6EC911D986}"/>
              </a:ext>
            </a:extLst>
          </p:cNvPr>
          <p:cNvSpPr/>
          <p:nvPr/>
        </p:nvSpPr>
        <p:spPr>
          <a:xfrm flipH="1">
            <a:off x="1646869" y="438639"/>
            <a:ext cx="4008970" cy="3634154"/>
          </a:xfrm>
          <a:prstGeom prst="rtTriangle">
            <a:avLst/>
          </a:prstGeom>
          <a:solidFill>
            <a:schemeClr val="bg1">
              <a:lumMod val="75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45" name="Right Triangle 44">
            <a:extLst>
              <a:ext uri="{FF2B5EF4-FFF2-40B4-BE49-F238E27FC236}">
                <a16:creationId xmlns:a16="http://schemas.microsoft.com/office/drawing/2014/main" id="{2EDFCB15-9AB6-B0FA-A68F-B7768C137C40}"/>
              </a:ext>
            </a:extLst>
          </p:cNvPr>
          <p:cNvSpPr/>
          <p:nvPr/>
        </p:nvSpPr>
        <p:spPr>
          <a:xfrm flipH="1">
            <a:off x="99422" y="451533"/>
            <a:ext cx="4008970" cy="3634154"/>
          </a:xfrm>
          <a:prstGeom prst="rtTriangle">
            <a:avLst/>
          </a:prstGeom>
          <a:solidFill>
            <a:schemeClr val="bg1">
              <a:lumMod val="75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75571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7030A0"/>
            </a:gs>
            <a:gs pos="53000">
              <a:schemeClr val="accent1">
                <a:lumMod val="45000"/>
                <a:lumOff val="55000"/>
              </a:schemeClr>
            </a:gs>
            <a:gs pos="100000">
              <a:schemeClr val="accent4">
                <a:lumMod val="75000"/>
              </a:schemeClr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1E33466A-6C2E-462B-2D65-F6CF0439F430}"/>
              </a:ext>
            </a:extLst>
          </p:cNvPr>
          <p:cNvSpPr/>
          <p:nvPr/>
        </p:nvSpPr>
        <p:spPr>
          <a:xfrm>
            <a:off x="5865959" y="1217052"/>
            <a:ext cx="4729469" cy="3923762"/>
          </a:xfrm>
          <a:custGeom>
            <a:avLst/>
            <a:gdLst>
              <a:gd name="connsiteX0" fmla="*/ 0 w 2989943"/>
              <a:gd name="connsiteY0" fmla="*/ 2220823 h 2337872"/>
              <a:gd name="connsiteX1" fmla="*/ 203200 w 2989943"/>
              <a:gd name="connsiteY1" fmla="*/ 2090194 h 2337872"/>
              <a:gd name="connsiteX2" fmla="*/ 798285 w 2989943"/>
              <a:gd name="connsiteY2" fmla="*/ 14651 h 2337872"/>
              <a:gd name="connsiteX3" fmla="*/ 1494971 w 2989943"/>
              <a:gd name="connsiteY3" fmla="*/ 2133737 h 2337872"/>
              <a:gd name="connsiteX4" fmla="*/ 2133600 w 2989943"/>
              <a:gd name="connsiteY4" fmla="*/ 137 h 2337872"/>
              <a:gd name="connsiteX5" fmla="*/ 2989943 w 2989943"/>
              <a:gd name="connsiteY5" fmla="*/ 2017623 h 2337872"/>
              <a:gd name="connsiteX6" fmla="*/ 2989943 w 2989943"/>
              <a:gd name="connsiteY6" fmla="*/ 2017623 h 2337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89943" h="2337872">
                <a:moveTo>
                  <a:pt x="0" y="2220823"/>
                </a:moveTo>
                <a:cubicBezTo>
                  <a:pt x="35076" y="2339356"/>
                  <a:pt x="70153" y="2457889"/>
                  <a:pt x="203200" y="2090194"/>
                </a:cubicBezTo>
                <a:cubicBezTo>
                  <a:pt x="336248" y="1722499"/>
                  <a:pt x="582990" y="7394"/>
                  <a:pt x="798285" y="14651"/>
                </a:cubicBezTo>
                <a:cubicBezTo>
                  <a:pt x="1013580" y="21908"/>
                  <a:pt x="1272419" y="2136156"/>
                  <a:pt x="1494971" y="2133737"/>
                </a:cubicBezTo>
                <a:cubicBezTo>
                  <a:pt x="1717523" y="2131318"/>
                  <a:pt x="1884438" y="19489"/>
                  <a:pt x="2133600" y="137"/>
                </a:cubicBezTo>
                <a:cubicBezTo>
                  <a:pt x="2382762" y="-19215"/>
                  <a:pt x="2989943" y="2017623"/>
                  <a:pt x="2989943" y="2017623"/>
                </a:cubicBezTo>
                <a:lnTo>
                  <a:pt x="2989943" y="2017623"/>
                </a:lnTo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scene3d>
            <a:camera prst="isometricOffAxis1Left"/>
            <a:lightRig rig="twoPt" dir="t"/>
          </a:scene3d>
          <a:sp3d extrusionH="1079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75E8C36-4640-459C-3705-BE7F6F9F135E}"/>
              </a:ext>
            </a:extLst>
          </p:cNvPr>
          <p:cNvSpPr/>
          <p:nvPr/>
        </p:nvSpPr>
        <p:spPr>
          <a:xfrm>
            <a:off x="2786278" y="3802315"/>
            <a:ext cx="6619444" cy="2216513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scene3d>
            <a:camera prst="perspectiveRelaxedModerately"/>
            <a:lightRig rig="threePt" dir="t"/>
          </a:scene3d>
          <a:sp3d extrusionH="3175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BF0A4A5-E088-65AE-EA76-68A186B7472A}"/>
              </a:ext>
            </a:extLst>
          </p:cNvPr>
          <p:cNvGrpSpPr/>
          <p:nvPr/>
        </p:nvGrpSpPr>
        <p:grpSpPr>
          <a:xfrm>
            <a:off x="6096000" y="959282"/>
            <a:ext cx="1281600" cy="4048219"/>
            <a:chOff x="6762822" y="908749"/>
            <a:chExt cx="1281600" cy="4048219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A99EDF0-1FCE-ED28-EC08-C22BF64D4B86}"/>
                </a:ext>
              </a:extLst>
            </p:cNvPr>
            <p:cNvSpPr/>
            <p:nvPr/>
          </p:nvSpPr>
          <p:spPr>
            <a:xfrm>
              <a:off x="6762822" y="922218"/>
              <a:ext cx="1281600" cy="4034750"/>
            </a:xfrm>
            <a:custGeom>
              <a:avLst/>
              <a:gdLst>
                <a:gd name="connsiteX0" fmla="*/ 640800 w 1281600"/>
                <a:gd name="connsiteY0" fmla="*/ 0 h 4034750"/>
                <a:gd name="connsiteX1" fmla="*/ 1281600 w 1281600"/>
                <a:gd name="connsiteY1" fmla="*/ 273600 h 4034750"/>
                <a:gd name="connsiteX2" fmla="*/ 1273649 w 1281600"/>
                <a:gd name="connsiteY2" fmla="*/ 276995 h 4034750"/>
                <a:gd name="connsiteX3" fmla="*/ 1281600 w 1281600"/>
                <a:gd name="connsiteY3" fmla="*/ 276995 h 4034750"/>
                <a:gd name="connsiteX4" fmla="*/ 1281600 w 1281600"/>
                <a:gd name="connsiteY4" fmla="*/ 3760721 h 4034750"/>
                <a:gd name="connsiteX5" fmla="*/ 1280596 w 1281600"/>
                <a:gd name="connsiteY5" fmla="*/ 3760721 h 4034750"/>
                <a:gd name="connsiteX6" fmla="*/ 1281600 w 1281600"/>
                <a:gd name="connsiteY6" fmla="*/ 3761150 h 4034750"/>
                <a:gd name="connsiteX7" fmla="*/ 640800 w 1281600"/>
                <a:gd name="connsiteY7" fmla="*/ 4034750 h 4034750"/>
                <a:gd name="connsiteX8" fmla="*/ 0 w 1281600"/>
                <a:gd name="connsiteY8" fmla="*/ 3761150 h 4034750"/>
                <a:gd name="connsiteX9" fmla="*/ 1005 w 1281600"/>
                <a:gd name="connsiteY9" fmla="*/ 3760721 h 4034750"/>
                <a:gd name="connsiteX10" fmla="*/ 0 w 1281600"/>
                <a:gd name="connsiteY10" fmla="*/ 3760721 h 4034750"/>
                <a:gd name="connsiteX11" fmla="*/ 0 w 1281600"/>
                <a:gd name="connsiteY11" fmla="*/ 276995 h 4034750"/>
                <a:gd name="connsiteX12" fmla="*/ 7952 w 1281600"/>
                <a:gd name="connsiteY12" fmla="*/ 276995 h 4034750"/>
                <a:gd name="connsiteX13" fmla="*/ 0 w 1281600"/>
                <a:gd name="connsiteY13" fmla="*/ 273600 h 4034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1600" h="4034750">
                  <a:moveTo>
                    <a:pt x="640800" y="0"/>
                  </a:moveTo>
                  <a:lnTo>
                    <a:pt x="1281600" y="273600"/>
                  </a:lnTo>
                  <a:lnTo>
                    <a:pt x="1273649" y="276995"/>
                  </a:lnTo>
                  <a:lnTo>
                    <a:pt x="1281600" y="276995"/>
                  </a:lnTo>
                  <a:lnTo>
                    <a:pt x="1281600" y="3760721"/>
                  </a:lnTo>
                  <a:lnTo>
                    <a:pt x="1280596" y="3760721"/>
                  </a:lnTo>
                  <a:lnTo>
                    <a:pt x="1281600" y="3761150"/>
                  </a:lnTo>
                  <a:lnTo>
                    <a:pt x="640800" y="4034750"/>
                  </a:lnTo>
                  <a:lnTo>
                    <a:pt x="0" y="3761150"/>
                  </a:lnTo>
                  <a:lnTo>
                    <a:pt x="1005" y="3760721"/>
                  </a:lnTo>
                  <a:lnTo>
                    <a:pt x="0" y="3760721"/>
                  </a:lnTo>
                  <a:lnTo>
                    <a:pt x="0" y="276995"/>
                  </a:lnTo>
                  <a:lnTo>
                    <a:pt x="7952" y="276995"/>
                  </a:lnTo>
                  <a:lnTo>
                    <a:pt x="0" y="273600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6">
                    <a:lumMod val="75000"/>
                  </a:schemeClr>
                </a:gs>
                <a:gs pos="53000">
                  <a:schemeClr val="accent1">
                    <a:lumMod val="45000"/>
                    <a:lumOff val="55000"/>
                  </a:schemeClr>
                </a:gs>
                <a:gs pos="0">
                  <a:schemeClr val="accent6">
                    <a:lumMod val="40000"/>
                    <a:lumOff val="6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FC414B5-A780-2437-FD08-64B5BDC761A1}"/>
                </a:ext>
              </a:extLst>
            </p:cNvPr>
            <p:cNvSpPr/>
            <p:nvPr/>
          </p:nvSpPr>
          <p:spPr>
            <a:xfrm>
              <a:off x="7403622" y="922218"/>
              <a:ext cx="640800" cy="4034750"/>
            </a:xfrm>
            <a:custGeom>
              <a:avLst/>
              <a:gdLst>
                <a:gd name="connsiteX0" fmla="*/ 0 w 640800"/>
                <a:gd name="connsiteY0" fmla="*/ 0 h 4034750"/>
                <a:gd name="connsiteX1" fmla="*/ 640800 w 640800"/>
                <a:gd name="connsiteY1" fmla="*/ 273600 h 4034750"/>
                <a:gd name="connsiteX2" fmla="*/ 632849 w 640800"/>
                <a:gd name="connsiteY2" fmla="*/ 276995 h 4034750"/>
                <a:gd name="connsiteX3" fmla="*/ 640800 w 640800"/>
                <a:gd name="connsiteY3" fmla="*/ 276995 h 4034750"/>
                <a:gd name="connsiteX4" fmla="*/ 640800 w 640800"/>
                <a:gd name="connsiteY4" fmla="*/ 3760721 h 4034750"/>
                <a:gd name="connsiteX5" fmla="*/ 639796 w 640800"/>
                <a:gd name="connsiteY5" fmla="*/ 3760721 h 4034750"/>
                <a:gd name="connsiteX6" fmla="*/ 640800 w 640800"/>
                <a:gd name="connsiteY6" fmla="*/ 3761150 h 4034750"/>
                <a:gd name="connsiteX7" fmla="*/ 0 w 640800"/>
                <a:gd name="connsiteY7" fmla="*/ 4034750 h 4034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0800" h="4034750">
                  <a:moveTo>
                    <a:pt x="0" y="0"/>
                  </a:moveTo>
                  <a:lnTo>
                    <a:pt x="640800" y="273600"/>
                  </a:lnTo>
                  <a:lnTo>
                    <a:pt x="632849" y="276995"/>
                  </a:lnTo>
                  <a:lnTo>
                    <a:pt x="640800" y="276995"/>
                  </a:lnTo>
                  <a:lnTo>
                    <a:pt x="640800" y="3760721"/>
                  </a:lnTo>
                  <a:lnTo>
                    <a:pt x="639796" y="3760721"/>
                  </a:lnTo>
                  <a:lnTo>
                    <a:pt x="640800" y="3761150"/>
                  </a:lnTo>
                  <a:lnTo>
                    <a:pt x="0" y="4034750"/>
                  </a:lnTo>
                  <a:close/>
                </a:path>
              </a:pathLst>
            </a:custGeom>
            <a:solidFill>
              <a:schemeClr val="bg1">
                <a:alpha val="2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20" name="Diamond 19">
              <a:extLst>
                <a:ext uri="{FF2B5EF4-FFF2-40B4-BE49-F238E27FC236}">
                  <a16:creationId xmlns:a16="http://schemas.microsoft.com/office/drawing/2014/main" id="{EB3AE01A-7368-EC66-3B65-05478A50A3B8}"/>
                </a:ext>
              </a:extLst>
            </p:cNvPr>
            <p:cNvSpPr/>
            <p:nvPr/>
          </p:nvSpPr>
          <p:spPr>
            <a:xfrm>
              <a:off x="6762822" y="908749"/>
              <a:ext cx="1281600" cy="547200"/>
            </a:xfrm>
            <a:prstGeom prst="diamond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8669033-8F7C-0C05-BA89-F82A97B1DC95}"/>
              </a:ext>
            </a:extLst>
          </p:cNvPr>
          <p:cNvGrpSpPr/>
          <p:nvPr/>
        </p:nvGrpSpPr>
        <p:grpSpPr>
          <a:xfrm>
            <a:off x="5346191" y="2272121"/>
            <a:ext cx="1281600" cy="3060389"/>
            <a:chOff x="5293785" y="1896579"/>
            <a:chExt cx="1281600" cy="3060389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4A81BB3-D46B-391C-C707-193065199CCF}"/>
                </a:ext>
              </a:extLst>
            </p:cNvPr>
            <p:cNvSpPr/>
            <p:nvPr/>
          </p:nvSpPr>
          <p:spPr>
            <a:xfrm>
              <a:off x="5293785" y="1896579"/>
              <a:ext cx="1281600" cy="3060389"/>
            </a:xfrm>
            <a:custGeom>
              <a:avLst/>
              <a:gdLst>
                <a:gd name="connsiteX0" fmla="*/ 640800 w 1281600"/>
                <a:gd name="connsiteY0" fmla="*/ 0 h 3060389"/>
                <a:gd name="connsiteX1" fmla="*/ 1281600 w 1281600"/>
                <a:gd name="connsiteY1" fmla="*/ 273600 h 3060389"/>
                <a:gd name="connsiteX2" fmla="*/ 1273651 w 1281600"/>
                <a:gd name="connsiteY2" fmla="*/ 276994 h 3060389"/>
                <a:gd name="connsiteX3" fmla="*/ 1281600 w 1281600"/>
                <a:gd name="connsiteY3" fmla="*/ 276994 h 3060389"/>
                <a:gd name="connsiteX4" fmla="*/ 1281600 w 1281600"/>
                <a:gd name="connsiteY4" fmla="*/ 2786359 h 3060389"/>
                <a:gd name="connsiteX5" fmla="*/ 1280593 w 1281600"/>
                <a:gd name="connsiteY5" fmla="*/ 2786359 h 3060389"/>
                <a:gd name="connsiteX6" fmla="*/ 1281600 w 1281600"/>
                <a:gd name="connsiteY6" fmla="*/ 2786789 h 3060389"/>
                <a:gd name="connsiteX7" fmla="*/ 640800 w 1281600"/>
                <a:gd name="connsiteY7" fmla="*/ 3060389 h 3060389"/>
                <a:gd name="connsiteX8" fmla="*/ 0 w 1281600"/>
                <a:gd name="connsiteY8" fmla="*/ 2786789 h 3060389"/>
                <a:gd name="connsiteX9" fmla="*/ 1007 w 1281600"/>
                <a:gd name="connsiteY9" fmla="*/ 2786359 h 3060389"/>
                <a:gd name="connsiteX10" fmla="*/ 0 w 1281600"/>
                <a:gd name="connsiteY10" fmla="*/ 2786359 h 3060389"/>
                <a:gd name="connsiteX11" fmla="*/ 0 w 1281600"/>
                <a:gd name="connsiteY11" fmla="*/ 276994 h 3060389"/>
                <a:gd name="connsiteX12" fmla="*/ 7949 w 1281600"/>
                <a:gd name="connsiteY12" fmla="*/ 276994 h 3060389"/>
                <a:gd name="connsiteX13" fmla="*/ 0 w 1281600"/>
                <a:gd name="connsiteY13" fmla="*/ 273600 h 306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1600" h="3060389">
                  <a:moveTo>
                    <a:pt x="640800" y="0"/>
                  </a:moveTo>
                  <a:lnTo>
                    <a:pt x="1281600" y="273600"/>
                  </a:lnTo>
                  <a:lnTo>
                    <a:pt x="1273651" y="276994"/>
                  </a:lnTo>
                  <a:lnTo>
                    <a:pt x="1281600" y="276994"/>
                  </a:lnTo>
                  <a:lnTo>
                    <a:pt x="1281600" y="2786359"/>
                  </a:lnTo>
                  <a:lnTo>
                    <a:pt x="1280593" y="2786359"/>
                  </a:lnTo>
                  <a:lnTo>
                    <a:pt x="1281600" y="2786789"/>
                  </a:lnTo>
                  <a:lnTo>
                    <a:pt x="640800" y="3060389"/>
                  </a:lnTo>
                  <a:lnTo>
                    <a:pt x="0" y="2786789"/>
                  </a:lnTo>
                  <a:lnTo>
                    <a:pt x="1007" y="2786359"/>
                  </a:lnTo>
                  <a:lnTo>
                    <a:pt x="0" y="2786359"/>
                  </a:lnTo>
                  <a:lnTo>
                    <a:pt x="0" y="276994"/>
                  </a:lnTo>
                  <a:lnTo>
                    <a:pt x="7949" y="276994"/>
                  </a:lnTo>
                  <a:lnTo>
                    <a:pt x="0" y="27360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7030A0"/>
                </a:gs>
                <a:gs pos="53000">
                  <a:schemeClr val="accent1">
                    <a:lumMod val="45000"/>
                    <a:lumOff val="55000"/>
                  </a:schemeClr>
                </a:gs>
                <a:gs pos="1000">
                  <a:schemeClr val="accent4">
                    <a:lumMod val="7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116B66F-2729-994D-9D84-631FA3973592}"/>
                </a:ext>
              </a:extLst>
            </p:cNvPr>
            <p:cNvSpPr/>
            <p:nvPr/>
          </p:nvSpPr>
          <p:spPr>
            <a:xfrm>
              <a:off x="5934585" y="1896579"/>
              <a:ext cx="640800" cy="3060389"/>
            </a:xfrm>
            <a:custGeom>
              <a:avLst/>
              <a:gdLst>
                <a:gd name="connsiteX0" fmla="*/ 0 w 640800"/>
                <a:gd name="connsiteY0" fmla="*/ 0 h 3060389"/>
                <a:gd name="connsiteX1" fmla="*/ 640800 w 640800"/>
                <a:gd name="connsiteY1" fmla="*/ 273600 h 3060389"/>
                <a:gd name="connsiteX2" fmla="*/ 632851 w 640800"/>
                <a:gd name="connsiteY2" fmla="*/ 276994 h 3060389"/>
                <a:gd name="connsiteX3" fmla="*/ 640800 w 640800"/>
                <a:gd name="connsiteY3" fmla="*/ 276994 h 3060389"/>
                <a:gd name="connsiteX4" fmla="*/ 640800 w 640800"/>
                <a:gd name="connsiteY4" fmla="*/ 2786359 h 3060389"/>
                <a:gd name="connsiteX5" fmla="*/ 639793 w 640800"/>
                <a:gd name="connsiteY5" fmla="*/ 2786359 h 3060389"/>
                <a:gd name="connsiteX6" fmla="*/ 640800 w 640800"/>
                <a:gd name="connsiteY6" fmla="*/ 2786789 h 3060389"/>
                <a:gd name="connsiteX7" fmla="*/ 0 w 640800"/>
                <a:gd name="connsiteY7" fmla="*/ 3060389 h 306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0800" h="3060389">
                  <a:moveTo>
                    <a:pt x="0" y="0"/>
                  </a:moveTo>
                  <a:lnTo>
                    <a:pt x="640800" y="273600"/>
                  </a:lnTo>
                  <a:lnTo>
                    <a:pt x="632851" y="276994"/>
                  </a:lnTo>
                  <a:lnTo>
                    <a:pt x="640800" y="276994"/>
                  </a:lnTo>
                  <a:lnTo>
                    <a:pt x="640800" y="2786359"/>
                  </a:lnTo>
                  <a:lnTo>
                    <a:pt x="639793" y="2786359"/>
                  </a:lnTo>
                  <a:lnTo>
                    <a:pt x="640800" y="2786789"/>
                  </a:lnTo>
                  <a:lnTo>
                    <a:pt x="0" y="3060389"/>
                  </a:lnTo>
                  <a:close/>
                </a:path>
              </a:pathLst>
            </a:custGeom>
            <a:solidFill>
              <a:schemeClr val="bg1">
                <a:alpha val="2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19" name="Diamond 18">
              <a:extLst>
                <a:ext uri="{FF2B5EF4-FFF2-40B4-BE49-F238E27FC236}">
                  <a16:creationId xmlns:a16="http://schemas.microsoft.com/office/drawing/2014/main" id="{AA80F8F1-6343-0CC0-C123-45CED37D7CEE}"/>
                </a:ext>
              </a:extLst>
            </p:cNvPr>
            <p:cNvSpPr/>
            <p:nvPr/>
          </p:nvSpPr>
          <p:spPr>
            <a:xfrm>
              <a:off x="5293785" y="1896579"/>
              <a:ext cx="1281600" cy="547200"/>
            </a:xfrm>
            <a:prstGeom prst="diamond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EA9DC60-884F-46D4-1841-7046096866E5}"/>
              </a:ext>
            </a:extLst>
          </p:cNvPr>
          <p:cNvGrpSpPr/>
          <p:nvPr/>
        </p:nvGrpSpPr>
        <p:grpSpPr>
          <a:xfrm>
            <a:off x="4596382" y="3230729"/>
            <a:ext cx="1281600" cy="2410219"/>
            <a:chOff x="3824748" y="2546749"/>
            <a:chExt cx="1281600" cy="2410219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0CDAEB-41C4-3946-9D5F-05AC9BA551FC}"/>
                </a:ext>
              </a:extLst>
            </p:cNvPr>
            <p:cNvSpPr/>
            <p:nvPr/>
          </p:nvSpPr>
          <p:spPr>
            <a:xfrm>
              <a:off x="3824748" y="2571136"/>
              <a:ext cx="1281600" cy="2385832"/>
            </a:xfrm>
            <a:custGeom>
              <a:avLst/>
              <a:gdLst>
                <a:gd name="connsiteX0" fmla="*/ 640800 w 1281600"/>
                <a:gd name="connsiteY0" fmla="*/ 0 h 2385832"/>
                <a:gd name="connsiteX1" fmla="*/ 1281600 w 1281600"/>
                <a:gd name="connsiteY1" fmla="*/ 273600 h 2385832"/>
                <a:gd name="connsiteX2" fmla="*/ 1281598 w 1281600"/>
                <a:gd name="connsiteY2" fmla="*/ 273601 h 2385832"/>
                <a:gd name="connsiteX3" fmla="*/ 1281600 w 1281600"/>
                <a:gd name="connsiteY3" fmla="*/ 273601 h 2385832"/>
                <a:gd name="connsiteX4" fmla="*/ 1281600 w 1281600"/>
                <a:gd name="connsiteY4" fmla="*/ 2111803 h 2385832"/>
                <a:gd name="connsiteX5" fmla="*/ 1280595 w 1281600"/>
                <a:gd name="connsiteY5" fmla="*/ 2111803 h 2385832"/>
                <a:gd name="connsiteX6" fmla="*/ 1281600 w 1281600"/>
                <a:gd name="connsiteY6" fmla="*/ 2112232 h 2385832"/>
                <a:gd name="connsiteX7" fmla="*/ 640800 w 1281600"/>
                <a:gd name="connsiteY7" fmla="*/ 2385832 h 2385832"/>
                <a:gd name="connsiteX8" fmla="*/ 0 w 1281600"/>
                <a:gd name="connsiteY8" fmla="*/ 2112232 h 2385832"/>
                <a:gd name="connsiteX9" fmla="*/ 1005 w 1281600"/>
                <a:gd name="connsiteY9" fmla="*/ 2111803 h 2385832"/>
                <a:gd name="connsiteX10" fmla="*/ 0 w 1281600"/>
                <a:gd name="connsiteY10" fmla="*/ 2111803 h 2385832"/>
                <a:gd name="connsiteX11" fmla="*/ 0 w 1281600"/>
                <a:gd name="connsiteY11" fmla="*/ 273601 h 2385832"/>
                <a:gd name="connsiteX12" fmla="*/ 2 w 1281600"/>
                <a:gd name="connsiteY12" fmla="*/ 273601 h 2385832"/>
                <a:gd name="connsiteX13" fmla="*/ 0 w 1281600"/>
                <a:gd name="connsiteY13" fmla="*/ 273600 h 238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1600" h="2385832">
                  <a:moveTo>
                    <a:pt x="640800" y="0"/>
                  </a:moveTo>
                  <a:lnTo>
                    <a:pt x="1281600" y="273600"/>
                  </a:lnTo>
                  <a:lnTo>
                    <a:pt x="1281598" y="273601"/>
                  </a:lnTo>
                  <a:lnTo>
                    <a:pt x="1281600" y="273601"/>
                  </a:lnTo>
                  <a:lnTo>
                    <a:pt x="1281600" y="2111803"/>
                  </a:lnTo>
                  <a:lnTo>
                    <a:pt x="1280595" y="2111803"/>
                  </a:lnTo>
                  <a:lnTo>
                    <a:pt x="1281600" y="2112232"/>
                  </a:lnTo>
                  <a:lnTo>
                    <a:pt x="640800" y="2385832"/>
                  </a:lnTo>
                  <a:lnTo>
                    <a:pt x="0" y="2112232"/>
                  </a:lnTo>
                  <a:lnTo>
                    <a:pt x="1005" y="2111803"/>
                  </a:lnTo>
                  <a:lnTo>
                    <a:pt x="0" y="2111803"/>
                  </a:lnTo>
                  <a:lnTo>
                    <a:pt x="0" y="273601"/>
                  </a:lnTo>
                  <a:lnTo>
                    <a:pt x="2" y="273601"/>
                  </a:lnTo>
                  <a:lnTo>
                    <a:pt x="0" y="273600"/>
                  </a:lnTo>
                  <a:close/>
                </a:path>
              </a:pathLst>
            </a:custGeom>
            <a:gradFill flip="none" rotWithShape="1">
              <a:gsLst>
                <a:gs pos="17000">
                  <a:srgbClr val="FFC000"/>
                </a:gs>
                <a:gs pos="39000">
                  <a:srgbClr val="C00000"/>
                </a:gs>
                <a:gs pos="100000">
                  <a:schemeClr val="accent5">
                    <a:lumMod val="40000"/>
                    <a:lumOff val="6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9E65FAD-39A7-28A8-0BB0-17D79BA2E68B}"/>
                </a:ext>
              </a:extLst>
            </p:cNvPr>
            <p:cNvSpPr/>
            <p:nvPr/>
          </p:nvSpPr>
          <p:spPr>
            <a:xfrm>
              <a:off x="4465548" y="2546749"/>
              <a:ext cx="640800" cy="2385832"/>
            </a:xfrm>
            <a:custGeom>
              <a:avLst/>
              <a:gdLst>
                <a:gd name="connsiteX0" fmla="*/ 0 w 640800"/>
                <a:gd name="connsiteY0" fmla="*/ 0 h 2385832"/>
                <a:gd name="connsiteX1" fmla="*/ 640800 w 640800"/>
                <a:gd name="connsiteY1" fmla="*/ 273600 h 2385832"/>
                <a:gd name="connsiteX2" fmla="*/ 640798 w 640800"/>
                <a:gd name="connsiteY2" fmla="*/ 273601 h 2385832"/>
                <a:gd name="connsiteX3" fmla="*/ 640800 w 640800"/>
                <a:gd name="connsiteY3" fmla="*/ 273601 h 2385832"/>
                <a:gd name="connsiteX4" fmla="*/ 640800 w 640800"/>
                <a:gd name="connsiteY4" fmla="*/ 2111803 h 2385832"/>
                <a:gd name="connsiteX5" fmla="*/ 639795 w 640800"/>
                <a:gd name="connsiteY5" fmla="*/ 2111803 h 2385832"/>
                <a:gd name="connsiteX6" fmla="*/ 640800 w 640800"/>
                <a:gd name="connsiteY6" fmla="*/ 2112232 h 2385832"/>
                <a:gd name="connsiteX7" fmla="*/ 0 w 640800"/>
                <a:gd name="connsiteY7" fmla="*/ 2385832 h 238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0800" h="2385832">
                  <a:moveTo>
                    <a:pt x="0" y="0"/>
                  </a:moveTo>
                  <a:lnTo>
                    <a:pt x="640800" y="273600"/>
                  </a:lnTo>
                  <a:lnTo>
                    <a:pt x="640798" y="273601"/>
                  </a:lnTo>
                  <a:lnTo>
                    <a:pt x="640800" y="273601"/>
                  </a:lnTo>
                  <a:lnTo>
                    <a:pt x="640800" y="2111803"/>
                  </a:lnTo>
                  <a:lnTo>
                    <a:pt x="639795" y="2111803"/>
                  </a:lnTo>
                  <a:lnTo>
                    <a:pt x="640800" y="2112232"/>
                  </a:lnTo>
                  <a:lnTo>
                    <a:pt x="0" y="2385832"/>
                  </a:lnTo>
                  <a:close/>
                </a:path>
              </a:pathLst>
            </a:custGeom>
            <a:solidFill>
              <a:schemeClr val="bg1">
                <a:alpha val="24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MY" dirty="0"/>
            </a:p>
          </p:txBody>
        </p:sp>
        <p:sp>
          <p:nvSpPr>
            <p:cNvPr id="18" name="Diamond 17">
              <a:extLst>
                <a:ext uri="{FF2B5EF4-FFF2-40B4-BE49-F238E27FC236}">
                  <a16:creationId xmlns:a16="http://schemas.microsoft.com/office/drawing/2014/main" id="{DBA526C5-2EA2-EEE3-672A-3C784F4AE0A3}"/>
                </a:ext>
              </a:extLst>
            </p:cNvPr>
            <p:cNvSpPr/>
            <p:nvPr/>
          </p:nvSpPr>
          <p:spPr>
            <a:xfrm>
              <a:off x="3824748" y="2571136"/>
              <a:ext cx="1281600" cy="547200"/>
            </a:xfrm>
            <a:prstGeom prst="diamond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/>
            </a:p>
          </p:txBody>
        </p:sp>
      </p:grp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E8CFA8FB-7CB7-7D22-6626-35DAE2D322C7}"/>
              </a:ext>
            </a:extLst>
          </p:cNvPr>
          <p:cNvSpPr/>
          <p:nvPr/>
        </p:nvSpPr>
        <p:spPr>
          <a:xfrm>
            <a:off x="5237182" y="2116367"/>
            <a:ext cx="640800" cy="2385832"/>
          </a:xfrm>
          <a:custGeom>
            <a:avLst/>
            <a:gdLst>
              <a:gd name="connsiteX0" fmla="*/ 0 w 640800"/>
              <a:gd name="connsiteY0" fmla="*/ 0 h 2385832"/>
              <a:gd name="connsiteX1" fmla="*/ 640800 w 640800"/>
              <a:gd name="connsiteY1" fmla="*/ 273600 h 2385832"/>
              <a:gd name="connsiteX2" fmla="*/ 640798 w 640800"/>
              <a:gd name="connsiteY2" fmla="*/ 273601 h 2385832"/>
              <a:gd name="connsiteX3" fmla="*/ 640800 w 640800"/>
              <a:gd name="connsiteY3" fmla="*/ 273601 h 2385832"/>
              <a:gd name="connsiteX4" fmla="*/ 640800 w 640800"/>
              <a:gd name="connsiteY4" fmla="*/ 2111803 h 2385832"/>
              <a:gd name="connsiteX5" fmla="*/ 639795 w 640800"/>
              <a:gd name="connsiteY5" fmla="*/ 2111803 h 2385832"/>
              <a:gd name="connsiteX6" fmla="*/ 640800 w 640800"/>
              <a:gd name="connsiteY6" fmla="*/ 2112232 h 2385832"/>
              <a:gd name="connsiteX7" fmla="*/ 0 w 640800"/>
              <a:gd name="connsiteY7" fmla="*/ 2385832 h 2385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85832">
                <a:moveTo>
                  <a:pt x="0" y="0"/>
                </a:moveTo>
                <a:lnTo>
                  <a:pt x="640800" y="273600"/>
                </a:lnTo>
                <a:lnTo>
                  <a:pt x="640798" y="273601"/>
                </a:lnTo>
                <a:lnTo>
                  <a:pt x="640800" y="273601"/>
                </a:lnTo>
                <a:lnTo>
                  <a:pt x="640800" y="2111803"/>
                </a:lnTo>
                <a:lnTo>
                  <a:pt x="639795" y="2111803"/>
                </a:lnTo>
                <a:lnTo>
                  <a:pt x="640800" y="2112232"/>
                </a:lnTo>
                <a:lnTo>
                  <a:pt x="0" y="2385832"/>
                </a:lnTo>
                <a:close/>
              </a:path>
            </a:pathLst>
          </a:custGeom>
          <a:gradFill>
            <a:gsLst>
              <a:gs pos="0">
                <a:schemeClr val="bg1">
                  <a:alpha val="18000"/>
                </a:schemeClr>
              </a:gs>
              <a:gs pos="100000">
                <a:schemeClr val="bg1">
                  <a:alpha val="7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MY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209F35AA-4187-DE58-A945-18321238FDDB}"/>
              </a:ext>
            </a:extLst>
          </p:cNvPr>
          <p:cNvSpPr/>
          <p:nvPr/>
        </p:nvSpPr>
        <p:spPr>
          <a:xfrm flipH="1">
            <a:off x="4596382" y="2116366"/>
            <a:ext cx="640800" cy="2385832"/>
          </a:xfrm>
          <a:custGeom>
            <a:avLst/>
            <a:gdLst>
              <a:gd name="connsiteX0" fmla="*/ 0 w 640800"/>
              <a:gd name="connsiteY0" fmla="*/ 0 h 2385832"/>
              <a:gd name="connsiteX1" fmla="*/ 640800 w 640800"/>
              <a:gd name="connsiteY1" fmla="*/ 273600 h 2385832"/>
              <a:gd name="connsiteX2" fmla="*/ 640798 w 640800"/>
              <a:gd name="connsiteY2" fmla="*/ 273601 h 2385832"/>
              <a:gd name="connsiteX3" fmla="*/ 640800 w 640800"/>
              <a:gd name="connsiteY3" fmla="*/ 273601 h 2385832"/>
              <a:gd name="connsiteX4" fmla="*/ 640800 w 640800"/>
              <a:gd name="connsiteY4" fmla="*/ 2111803 h 2385832"/>
              <a:gd name="connsiteX5" fmla="*/ 639795 w 640800"/>
              <a:gd name="connsiteY5" fmla="*/ 2111803 h 2385832"/>
              <a:gd name="connsiteX6" fmla="*/ 640800 w 640800"/>
              <a:gd name="connsiteY6" fmla="*/ 2112232 h 2385832"/>
              <a:gd name="connsiteX7" fmla="*/ 0 w 640800"/>
              <a:gd name="connsiteY7" fmla="*/ 2385832 h 2385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85832">
                <a:moveTo>
                  <a:pt x="0" y="0"/>
                </a:moveTo>
                <a:lnTo>
                  <a:pt x="640800" y="273600"/>
                </a:lnTo>
                <a:lnTo>
                  <a:pt x="640798" y="273601"/>
                </a:lnTo>
                <a:lnTo>
                  <a:pt x="640800" y="273601"/>
                </a:lnTo>
                <a:lnTo>
                  <a:pt x="640800" y="2111803"/>
                </a:lnTo>
                <a:lnTo>
                  <a:pt x="639795" y="2111803"/>
                </a:lnTo>
                <a:lnTo>
                  <a:pt x="640800" y="2112232"/>
                </a:lnTo>
                <a:lnTo>
                  <a:pt x="0" y="2385832"/>
                </a:lnTo>
                <a:close/>
              </a:path>
            </a:pathLst>
          </a:custGeom>
          <a:gradFill>
            <a:gsLst>
              <a:gs pos="0">
                <a:schemeClr val="bg1">
                  <a:alpha val="18000"/>
                </a:schemeClr>
              </a:gs>
              <a:gs pos="100000">
                <a:schemeClr val="bg1">
                  <a:alpha val="7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MY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1FA576C-D81B-4119-1AEB-E1FFF6C9311E}"/>
              </a:ext>
            </a:extLst>
          </p:cNvPr>
          <p:cNvSpPr txBox="1"/>
          <p:nvPr/>
        </p:nvSpPr>
        <p:spPr>
          <a:xfrm>
            <a:off x="4525488" y="2665611"/>
            <a:ext cx="1423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0%</a:t>
            </a:r>
            <a:endParaRPr lang="en-MY" sz="32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7903A03D-5076-28CD-143F-9BEFC24F2B9A}"/>
              </a:ext>
            </a:extLst>
          </p:cNvPr>
          <p:cNvSpPr/>
          <p:nvPr/>
        </p:nvSpPr>
        <p:spPr>
          <a:xfrm>
            <a:off x="5987844" y="1132432"/>
            <a:ext cx="640800" cy="2385832"/>
          </a:xfrm>
          <a:custGeom>
            <a:avLst/>
            <a:gdLst>
              <a:gd name="connsiteX0" fmla="*/ 0 w 640800"/>
              <a:gd name="connsiteY0" fmla="*/ 0 h 2385832"/>
              <a:gd name="connsiteX1" fmla="*/ 640800 w 640800"/>
              <a:gd name="connsiteY1" fmla="*/ 273600 h 2385832"/>
              <a:gd name="connsiteX2" fmla="*/ 640798 w 640800"/>
              <a:gd name="connsiteY2" fmla="*/ 273601 h 2385832"/>
              <a:gd name="connsiteX3" fmla="*/ 640800 w 640800"/>
              <a:gd name="connsiteY3" fmla="*/ 273601 h 2385832"/>
              <a:gd name="connsiteX4" fmla="*/ 640800 w 640800"/>
              <a:gd name="connsiteY4" fmla="*/ 2111803 h 2385832"/>
              <a:gd name="connsiteX5" fmla="*/ 639795 w 640800"/>
              <a:gd name="connsiteY5" fmla="*/ 2111803 h 2385832"/>
              <a:gd name="connsiteX6" fmla="*/ 640800 w 640800"/>
              <a:gd name="connsiteY6" fmla="*/ 2112232 h 2385832"/>
              <a:gd name="connsiteX7" fmla="*/ 0 w 640800"/>
              <a:gd name="connsiteY7" fmla="*/ 2385832 h 2385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85832">
                <a:moveTo>
                  <a:pt x="0" y="0"/>
                </a:moveTo>
                <a:lnTo>
                  <a:pt x="640800" y="273600"/>
                </a:lnTo>
                <a:lnTo>
                  <a:pt x="640798" y="273601"/>
                </a:lnTo>
                <a:lnTo>
                  <a:pt x="640800" y="273601"/>
                </a:lnTo>
                <a:lnTo>
                  <a:pt x="640800" y="2111803"/>
                </a:lnTo>
                <a:lnTo>
                  <a:pt x="639795" y="2111803"/>
                </a:lnTo>
                <a:lnTo>
                  <a:pt x="640800" y="2112232"/>
                </a:lnTo>
                <a:lnTo>
                  <a:pt x="0" y="2385832"/>
                </a:lnTo>
                <a:close/>
              </a:path>
            </a:pathLst>
          </a:custGeom>
          <a:gradFill>
            <a:gsLst>
              <a:gs pos="0">
                <a:schemeClr val="bg1">
                  <a:alpha val="18000"/>
                </a:schemeClr>
              </a:gs>
              <a:gs pos="100000">
                <a:schemeClr val="bg1">
                  <a:alpha val="7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MY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6E2C8CCC-34FA-5FB1-0C3A-3B2CA3E0CB36}"/>
              </a:ext>
            </a:extLst>
          </p:cNvPr>
          <p:cNvSpPr/>
          <p:nvPr/>
        </p:nvSpPr>
        <p:spPr>
          <a:xfrm flipH="1">
            <a:off x="5344400" y="1142884"/>
            <a:ext cx="640800" cy="2385832"/>
          </a:xfrm>
          <a:custGeom>
            <a:avLst/>
            <a:gdLst>
              <a:gd name="connsiteX0" fmla="*/ 0 w 640800"/>
              <a:gd name="connsiteY0" fmla="*/ 0 h 2385832"/>
              <a:gd name="connsiteX1" fmla="*/ 640800 w 640800"/>
              <a:gd name="connsiteY1" fmla="*/ 273600 h 2385832"/>
              <a:gd name="connsiteX2" fmla="*/ 640798 w 640800"/>
              <a:gd name="connsiteY2" fmla="*/ 273601 h 2385832"/>
              <a:gd name="connsiteX3" fmla="*/ 640800 w 640800"/>
              <a:gd name="connsiteY3" fmla="*/ 273601 h 2385832"/>
              <a:gd name="connsiteX4" fmla="*/ 640800 w 640800"/>
              <a:gd name="connsiteY4" fmla="*/ 2111803 h 2385832"/>
              <a:gd name="connsiteX5" fmla="*/ 639795 w 640800"/>
              <a:gd name="connsiteY5" fmla="*/ 2111803 h 2385832"/>
              <a:gd name="connsiteX6" fmla="*/ 640800 w 640800"/>
              <a:gd name="connsiteY6" fmla="*/ 2112232 h 2385832"/>
              <a:gd name="connsiteX7" fmla="*/ 0 w 640800"/>
              <a:gd name="connsiteY7" fmla="*/ 2385832 h 2385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85832">
                <a:moveTo>
                  <a:pt x="0" y="0"/>
                </a:moveTo>
                <a:lnTo>
                  <a:pt x="640800" y="273600"/>
                </a:lnTo>
                <a:lnTo>
                  <a:pt x="640798" y="273601"/>
                </a:lnTo>
                <a:lnTo>
                  <a:pt x="640800" y="273601"/>
                </a:lnTo>
                <a:lnTo>
                  <a:pt x="640800" y="2111803"/>
                </a:lnTo>
                <a:lnTo>
                  <a:pt x="639795" y="2111803"/>
                </a:lnTo>
                <a:lnTo>
                  <a:pt x="640800" y="2112232"/>
                </a:lnTo>
                <a:lnTo>
                  <a:pt x="0" y="2385832"/>
                </a:lnTo>
                <a:close/>
              </a:path>
            </a:pathLst>
          </a:custGeom>
          <a:gradFill>
            <a:gsLst>
              <a:gs pos="0">
                <a:schemeClr val="bg1">
                  <a:alpha val="18000"/>
                </a:schemeClr>
              </a:gs>
              <a:gs pos="100000">
                <a:schemeClr val="bg1">
                  <a:alpha val="7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MY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D9D3433-A484-2A35-99D7-813CD63F60D6}"/>
              </a:ext>
            </a:extLst>
          </p:cNvPr>
          <p:cNvSpPr txBox="1"/>
          <p:nvPr/>
        </p:nvSpPr>
        <p:spPr>
          <a:xfrm>
            <a:off x="5263768" y="1655308"/>
            <a:ext cx="1423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0%</a:t>
            </a:r>
            <a:endParaRPr lang="en-MY" sz="32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969BF4B-3EC1-B977-9173-424430BB5FCB}"/>
              </a:ext>
            </a:extLst>
          </p:cNvPr>
          <p:cNvSpPr/>
          <p:nvPr/>
        </p:nvSpPr>
        <p:spPr>
          <a:xfrm>
            <a:off x="6738591" y="99935"/>
            <a:ext cx="640800" cy="2385832"/>
          </a:xfrm>
          <a:custGeom>
            <a:avLst/>
            <a:gdLst>
              <a:gd name="connsiteX0" fmla="*/ 0 w 640800"/>
              <a:gd name="connsiteY0" fmla="*/ 0 h 2385832"/>
              <a:gd name="connsiteX1" fmla="*/ 640800 w 640800"/>
              <a:gd name="connsiteY1" fmla="*/ 273600 h 2385832"/>
              <a:gd name="connsiteX2" fmla="*/ 640798 w 640800"/>
              <a:gd name="connsiteY2" fmla="*/ 273601 h 2385832"/>
              <a:gd name="connsiteX3" fmla="*/ 640800 w 640800"/>
              <a:gd name="connsiteY3" fmla="*/ 273601 h 2385832"/>
              <a:gd name="connsiteX4" fmla="*/ 640800 w 640800"/>
              <a:gd name="connsiteY4" fmla="*/ 2111803 h 2385832"/>
              <a:gd name="connsiteX5" fmla="*/ 639795 w 640800"/>
              <a:gd name="connsiteY5" fmla="*/ 2111803 h 2385832"/>
              <a:gd name="connsiteX6" fmla="*/ 640800 w 640800"/>
              <a:gd name="connsiteY6" fmla="*/ 2112232 h 2385832"/>
              <a:gd name="connsiteX7" fmla="*/ 0 w 640800"/>
              <a:gd name="connsiteY7" fmla="*/ 2385832 h 2385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85832">
                <a:moveTo>
                  <a:pt x="0" y="0"/>
                </a:moveTo>
                <a:lnTo>
                  <a:pt x="640800" y="273600"/>
                </a:lnTo>
                <a:lnTo>
                  <a:pt x="640798" y="273601"/>
                </a:lnTo>
                <a:lnTo>
                  <a:pt x="640800" y="273601"/>
                </a:lnTo>
                <a:lnTo>
                  <a:pt x="640800" y="2111803"/>
                </a:lnTo>
                <a:lnTo>
                  <a:pt x="639795" y="2111803"/>
                </a:lnTo>
                <a:lnTo>
                  <a:pt x="640800" y="2112232"/>
                </a:lnTo>
                <a:lnTo>
                  <a:pt x="0" y="2385832"/>
                </a:lnTo>
                <a:close/>
              </a:path>
            </a:pathLst>
          </a:custGeom>
          <a:gradFill>
            <a:gsLst>
              <a:gs pos="0">
                <a:schemeClr val="bg1">
                  <a:alpha val="18000"/>
                </a:schemeClr>
              </a:gs>
              <a:gs pos="100000">
                <a:schemeClr val="bg1">
                  <a:alpha val="7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MY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45A5F35-1AA5-178A-EE47-C80CF72965BF}"/>
              </a:ext>
            </a:extLst>
          </p:cNvPr>
          <p:cNvSpPr/>
          <p:nvPr/>
        </p:nvSpPr>
        <p:spPr>
          <a:xfrm flipH="1">
            <a:off x="6097791" y="99934"/>
            <a:ext cx="640800" cy="2385832"/>
          </a:xfrm>
          <a:custGeom>
            <a:avLst/>
            <a:gdLst>
              <a:gd name="connsiteX0" fmla="*/ 0 w 640800"/>
              <a:gd name="connsiteY0" fmla="*/ 0 h 2385832"/>
              <a:gd name="connsiteX1" fmla="*/ 640800 w 640800"/>
              <a:gd name="connsiteY1" fmla="*/ 273600 h 2385832"/>
              <a:gd name="connsiteX2" fmla="*/ 640798 w 640800"/>
              <a:gd name="connsiteY2" fmla="*/ 273601 h 2385832"/>
              <a:gd name="connsiteX3" fmla="*/ 640800 w 640800"/>
              <a:gd name="connsiteY3" fmla="*/ 273601 h 2385832"/>
              <a:gd name="connsiteX4" fmla="*/ 640800 w 640800"/>
              <a:gd name="connsiteY4" fmla="*/ 2111803 h 2385832"/>
              <a:gd name="connsiteX5" fmla="*/ 639795 w 640800"/>
              <a:gd name="connsiteY5" fmla="*/ 2111803 h 2385832"/>
              <a:gd name="connsiteX6" fmla="*/ 640800 w 640800"/>
              <a:gd name="connsiteY6" fmla="*/ 2112232 h 2385832"/>
              <a:gd name="connsiteX7" fmla="*/ 0 w 640800"/>
              <a:gd name="connsiteY7" fmla="*/ 2385832 h 2385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85832">
                <a:moveTo>
                  <a:pt x="0" y="0"/>
                </a:moveTo>
                <a:lnTo>
                  <a:pt x="640800" y="273600"/>
                </a:lnTo>
                <a:lnTo>
                  <a:pt x="640798" y="273601"/>
                </a:lnTo>
                <a:lnTo>
                  <a:pt x="640800" y="273601"/>
                </a:lnTo>
                <a:lnTo>
                  <a:pt x="640800" y="2111803"/>
                </a:lnTo>
                <a:lnTo>
                  <a:pt x="639795" y="2111803"/>
                </a:lnTo>
                <a:lnTo>
                  <a:pt x="640800" y="2112232"/>
                </a:lnTo>
                <a:lnTo>
                  <a:pt x="0" y="2385832"/>
                </a:lnTo>
                <a:close/>
              </a:path>
            </a:pathLst>
          </a:custGeom>
          <a:gradFill>
            <a:gsLst>
              <a:gs pos="0">
                <a:schemeClr val="bg1">
                  <a:alpha val="18000"/>
                </a:schemeClr>
              </a:gs>
              <a:gs pos="100000">
                <a:schemeClr val="bg1">
                  <a:alpha val="7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MY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C761B3F-D4DB-378C-2F30-A79C7DD563CC}"/>
              </a:ext>
            </a:extLst>
          </p:cNvPr>
          <p:cNvSpPr txBox="1"/>
          <p:nvPr/>
        </p:nvSpPr>
        <p:spPr>
          <a:xfrm>
            <a:off x="6026897" y="649179"/>
            <a:ext cx="1423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0%</a:t>
            </a:r>
            <a:endParaRPr lang="en-MY" sz="32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FAEA92-F937-F781-94B4-B335813F7653}"/>
              </a:ext>
            </a:extLst>
          </p:cNvPr>
          <p:cNvSpPr/>
          <p:nvPr/>
        </p:nvSpPr>
        <p:spPr>
          <a:xfrm>
            <a:off x="1048933" y="1425061"/>
            <a:ext cx="4087939" cy="2659530"/>
          </a:xfrm>
          <a:prstGeom prst="rect">
            <a:avLst/>
          </a:prstGeom>
          <a:gradFill flip="none" rotWithShape="1">
            <a:gsLst>
              <a:gs pos="0">
                <a:srgbClr val="FF0000"/>
              </a:gs>
              <a:gs pos="30000">
                <a:srgbClr val="7030A0"/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8900000" scaled="1"/>
            <a:tileRect/>
          </a:gradFill>
          <a:ln>
            <a:noFill/>
          </a:ln>
          <a:scene3d>
            <a:camera prst="isometricOffAxis2Right">
              <a:rot lat="1012846" lon="19016511" rev="380471"/>
            </a:camera>
            <a:lightRig rig="balanced" dir="t"/>
          </a:scene3d>
          <a:sp3d extrusionH="1206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/>
              <a:t>Sales Report</a:t>
            </a:r>
          </a:p>
          <a:p>
            <a:pPr algn="ctr"/>
            <a:endParaRPr lang="en-US" sz="3600" dirty="0"/>
          </a:p>
          <a:p>
            <a:pPr algn="ctr"/>
            <a:endParaRPr lang="en-US" sz="3600" dirty="0"/>
          </a:p>
          <a:p>
            <a:pPr algn="ctr"/>
            <a:endParaRPr lang="en-MY" sz="3600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20EEA97-BF39-B294-6B88-A4DF264A02EF}"/>
              </a:ext>
            </a:extLst>
          </p:cNvPr>
          <p:cNvSpPr/>
          <p:nvPr/>
        </p:nvSpPr>
        <p:spPr>
          <a:xfrm>
            <a:off x="2042977" y="1999115"/>
            <a:ext cx="2292626" cy="1762539"/>
          </a:xfrm>
          <a:custGeom>
            <a:avLst/>
            <a:gdLst>
              <a:gd name="connsiteX0" fmla="*/ 0 w 2292626"/>
              <a:gd name="connsiteY0" fmla="*/ 1762539 h 1762539"/>
              <a:gd name="connsiteX1" fmla="*/ 861391 w 2292626"/>
              <a:gd name="connsiteY1" fmla="*/ 596348 h 1762539"/>
              <a:gd name="connsiteX2" fmla="*/ 1113183 w 2292626"/>
              <a:gd name="connsiteY2" fmla="*/ 1669774 h 1762539"/>
              <a:gd name="connsiteX3" fmla="*/ 2292626 w 2292626"/>
              <a:gd name="connsiteY3" fmla="*/ 0 h 17625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2626" h="1762539">
                <a:moveTo>
                  <a:pt x="0" y="1762539"/>
                </a:moveTo>
                <a:cubicBezTo>
                  <a:pt x="337930" y="1187174"/>
                  <a:pt x="675861" y="611809"/>
                  <a:pt x="861391" y="596348"/>
                </a:cubicBezTo>
                <a:cubicBezTo>
                  <a:pt x="1046922" y="580887"/>
                  <a:pt x="874644" y="1769165"/>
                  <a:pt x="1113183" y="1669774"/>
                </a:cubicBezTo>
                <a:cubicBezTo>
                  <a:pt x="1351722" y="1570383"/>
                  <a:pt x="1822174" y="785191"/>
                  <a:pt x="2292626" y="0"/>
                </a:cubicBezTo>
              </a:path>
            </a:pathLst>
          </a:custGeom>
          <a:noFill/>
          <a:ln w="38100">
            <a:gradFill flip="none" rotWithShape="1">
              <a:gsLst>
                <a:gs pos="0">
                  <a:srgbClr val="FFFF00"/>
                </a:gs>
                <a:gs pos="91000">
                  <a:srgbClr val="FF0000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353919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/>
      <p:bldP spid="5" grpId="0" animBg="1"/>
      <p:bldP spid="6" grpId="0" animBg="1"/>
      <p:bldP spid="7" grpId="0"/>
      <p:bldP spid="8" grpId="0" animBg="1"/>
      <p:bldP spid="9" grpId="0" animBg="1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8</TotalTime>
  <Words>8</Words>
  <Application>Microsoft Office PowerPoint</Application>
  <PresentationFormat>Widescreen</PresentationFormat>
  <Paragraphs>5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ptos</vt:lpstr>
      <vt:lpstr>Aptos Display</vt:lpstr>
      <vt:lpstr>Arial</vt:lpstr>
      <vt:lpstr>Times New Roman</vt:lpstr>
      <vt:lpstr>Office Them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CKSON A/L RAJA SINGAM</dc:creator>
  <cp:lastModifiedBy>JACKSON A/L RAJA SINGAM</cp:lastModifiedBy>
  <cp:revision>2</cp:revision>
  <dcterms:created xsi:type="dcterms:W3CDTF">2024-10-02T02:48:49Z</dcterms:created>
  <dcterms:modified xsi:type="dcterms:W3CDTF">2024-10-02T14:09:09Z</dcterms:modified>
</cp:coreProperties>
</file>